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  <p:sldMasterId id="2147483814" r:id="rId2"/>
  </p:sldMasterIdLst>
  <p:notesMasterIdLst>
    <p:notesMasterId r:id="rId15"/>
  </p:notesMasterIdLst>
  <p:handoutMasterIdLst>
    <p:handoutMasterId r:id="rId16"/>
  </p:handoutMasterIdLst>
  <p:sldIdLst>
    <p:sldId id="257" r:id="rId3"/>
    <p:sldId id="2076137322" r:id="rId4"/>
    <p:sldId id="2076137324" r:id="rId5"/>
    <p:sldId id="2076137325" r:id="rId6"/>
    <p:sldId id="2076137327" r:id="rId7"/>
    <p:sldId id="2076137328" r:id="rId8"/>
    <p:sldId id="2076137329" r:id="rId9"/>
    <p:sldId id="2076137326" r:id="rId10"/>
    <p:sldId id="2076137332" r:id="rId11"/>
    <p:sldId id="2076137331" r:id="rId12"/>
    <p:sldId id="2076137330" r:id="rId13"/>
    <p:sldId id="2076137306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422CA59-47BC-F540-A92E-8023BD1F17E5}">
          <p14:sldIdLst>
            <p14:sldId id="257"/>
            <p14:sldId id="2076137322"/>
            <p14:sldId id="2076137324"/>
            <p14:sldId id="2076137325"/>
            <p14:sldId id="2076137327"/>
            <p14:sldId id="2076137328"/>
            <p14:sldId id="2076137329"/>
            <p14:sldId id="2076137326"/>
            <p14:sldId id="2076137332"/>
            <p14:sldId id="2076137331"/>
            <p14:sldId id="2076137330"/>
            <p14:sldId id="2076137306"/>
          </p14:sldIdLst>
        </p14:section>
        <p14:section name="Backup Slides" id="{878F5677-2AA9-AD48-837A-87141858DC64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MITH,KEVIN (K-Sonoma,ex1)" initials="S(" lastIdx="1" clrIdx="0">
    <p:extLst>
      <p:ext uri="{19B8F6BF-5375-455C-9EA6-DF929625EA0E}">
        <p15:presenceInfo xmlns:p15="http://schemas.microsoft.com/office/powerpoint/2012/main" userId="S-1-5-21-1876727327-1672651232-3010941439-28053" providerId="AD"/>
      </p:ext>
    </p:extLst>
  </p:cmAuthor>
  <p:cmAuthor id="2" name="LEE,DEAN (K-Calabasas,ex1)" initials="L(" lastIdx="1" clrIdx="1">
    <p:extLst>
      <p:ext uri="{19B8F6BF-5375-455C-9EA6-DF929625EA0E}">
        <p15:presenceInfo xmlns:p15="http://schemas.microsoft.com/office/powerpoint/2012/main" userId="S-1-5-21-1876727327-1672651232-3010941439-36384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FA623"/>
    <a:srgbClr val="37B0C9"/>
    <a:srgbClr val="FFFF99"/>
    <a:srgbClr val="A4A1A9"/>
    <a:srgbClr val="A7FFCF"/>
    <a:srgbClr val="FCB300"/>
    <a:srgbClr val="EEEEEE"/>
    <a:srgbClr val="F7F7F7"/>
    <a:srgbClr val="F4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 autoAdjust="0"/>
    <p:restoredTop sz="94354" autoAdjust="0"/>
  </p:normalViewPr>
  <p:slideViewPr>
    <p:cSldViewPr snapToGrid="0">
      <p:cViewPr>
        <p:scale>
          <a:sx n="90" d="100"/>
          <a:sy n="90" d="100"/>
        </p:scale>
        <p:origin x="1950" y="498"/>
      </p:cViewPr>
      <p:guideLst/>
    </p:cSldViewPr>
  </p:slideViewPr>
  <p:outlineViewPr>
    <p:cViewPr>
      <p:scale>
        <a:sx n="33" d="100"/>
        <a:sy n="33" d="100"/>
      </p:scale>
      <p:origin x="0" y="-16819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3134" y="5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410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87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0F0094-930E-4F7C-989A-1E88C974447E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811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847CD15-ED2B-493F-871B-D7E1771905F4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7913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D546A45-7EA3-4E7A-8EC9-792CAEDFF415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3301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49EC98B-E8C1-40F1-AA74-705BF8D22177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919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75CD594-590C-44D1-BA0A-0CB94AC35629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97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2A683A-D396-46D4-B53C-6410FF2F4C2C}"/>
              </a:ext>
            </a:extLst>
          </p:cNvPr>
          <p:cNvSpPr txBox="1"/>
          <p:nvPr userDrawn="1"/>
        </p:nvSpPr>
        <p:spPr>
          <a:xfrm>
            <a:off x="5283598" y="6668683"/>
            <a:ext cx="1624804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800" dirty="0">
                <a:solidFill>
                  <a:srgbClr val="C00000"/>
                </a:solidFill>
              </a:rPr>
              <a:t>All Material </a:t>
            </a:r>
            <a:r>
              <a:rPr lang="de-DE" sz="800" dirty="0" err="1">
                <a:solidFill>
                  <a:srgbClr val="C00000"/>
                </a:solidFill>
              </a:rPr>
              <a:t>under</a:t>
            </a:r>
            <a:r>
              <a:rPr lang="de-DE" sz="800" dirty="0">
                <a:solidFill>
                  <a:srgbClr val="C00000"/>
                </a:solidFill>
              </a:rPr>
              <a:t> Non-</a:t>
            </a:r>
            <a:r>
              <a:rPr lang="de-DE" sz="800" dirty="0" err="1">
                <a:solidFill>
                  <a:srgbClr val="C00000"/>
                </a:solidFill>
              </a:rPr>
              <a:t>Disclosure</a:t>
            </a:r>
            <a:endParaRPr lang="en-US" sz="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9984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2EE42A-51D3-421B-9C68-9E0447C733FD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6952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3344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2471491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– No </a:t>
            </a:r>
            <a:r>
              <a:rPr lang="en-US" dirty="0" err="1"/>
              <a:t>Sup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328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2DBE6F4-4044-49FB-87A1-EE799D577FF7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351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  <p:sp>
        <p:nvSpPr>
          <p:cNvPr id="33" name="Texture">
            <a:extLst>
              <a:ext uri="{FF2B5EF4-FFF2-40B4-BE49-F238E27FC236}">
                <a16:creationId xmlns:a16="http://schemas.microsoft.com/office/drawing/2014/main" id="{92C3A7F7-1EFF-4EF2-9A60-5621461FCD3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C92951A-A0D9-4DCA-8E6C-BC814DB2C1D5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5" name="Logo">
            <a:extLst>
              <a:ext uri="{FF2B5EF4-FFF2-40B4-BE49-F238E27FC236}">
                <a16:creationId xmlns:a16="http://schemas.microsoft.com/office/drawing/2014/main" id="{BBDE2FE0-0717-4505-9CB1-AFA6B65EFAF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8A1C3D62-4BC7-4796-9E45-32D49602505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6668BBBB-53B3-485C-8410-2F79F4CD1AD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Ruler">
            <a:extLst>
              <a:ext uri="{FF2B5EF4-FFF2-40B4-BE49-F238E27FC236}">
                <a16:creationId xmlns:a16="http://schemas.microsoft.com/office/drawing/2014/main" id="{2269FFC5-8943-48B4-90FF-127AB458D026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7B7496EB-6AD6-4D55-98B3-A26EA23B45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8C66262-74C4-4D77-B458-422BE6752F33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C2D9CB6B-07E2-4297-A2D4-E89EE1296D60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847AB8E-0CF9-4286-AA31-0B3B86C36BEB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F3D835DC-AD06-417A-BF9B-B8172E8ACFF5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59C7D130-B353-4C11-8A0D-EB461E1102DF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FB7269AC-6516-4DD6-9A97-DFD6F81CCCDA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6F8D7CA4-0885-4B0C-A1BE-863654C10230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D80A77E4-2AD5-4DFB-89AB-BD97E30E0EA0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1D0C63D4-9E75-48BE-AF75-69BF035C8D80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E0F01F41-DE7F-4F43-BB78-DF801D3510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40B8E78-36A0-4603-A9D2-74280D8B6D52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70586CA7-008D-47DE-B93D-FD316C5AE4E4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59B04716-15C9-4575-97DD-1CFE6021C760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7565953-9BA1-4CC5-A9A0-28232AA07784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BB06752-AC89-462A-BC1B-0CD43047CF0E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DEBAAD4-73F7-4F34-8337-B588F84D4588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39A58519-BF6E-4E94-8D94-E10C901ECF00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EEE8DE7-6B60-4B80-AD45-F1CF580FBD04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5A2AAEB0-D00C-4F41-94C1-90A0131758AF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667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  <p:sp>
        <p:nvSpPr>
          <p:cNvPr id="60" name="Texture">
            <a:extLst>
              <a:ext uri="{FF2B5EF4-FFF2-40B4-BE49-F238E27FC236}">
                <a16:creationId xmlns:a16="http://schemas.microsoft.com/office/drawing/2014/main" id="{B0DE2088-C1B1-46B3-AF5D-59658B06F3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5EA6F53-B029-487D-94CA-990609B9C6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62" name="Logo">
            <a:extLst>
              <a:ext uri="{FF2B5EF4-FFF2-40B4-BE49-F238E27FC236}">
                <a16:creationId xmlns:a16="http://schemas.microsoft.com/office/drawing/2014/main" id="{679C99F8-F8A5-4BAF-8064-6779ABECA0CF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3" name="Freeform 5">
              <a:extLst>
                <a:ext uri="{FF2B5EF4-FFF2-40B4-BE49-F238E27FC236}">
                  <a16:creationId xmlns:a16="http://schemas.microsoft.com/office/drawing/2014/main" id="{546660C0-5266-4E97-886C-DFD758189FD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">
              <a:extLst>
                <a:ext uri="{FF2B5EF4-FFF2-40B4-BE49-F238E27FC236}">
                  <a16:creationId xmlns:a16="http://schemas.microsoft.com/office/drawing/2014/main" id="{9D3DBA21-0A83-470C-B8F2-F694665F0C6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" name="Ruler">
            <a:extLst>
              <a:ext uri="{FF2B5EF4-FFF2-40B4-BE49-F238E27FC236}">
                <a16:creationId xmlns:a16="http://schemas.microsoft.com/office/drawing/2014/main" id="{4C426B52-59C1-4159-BE90-83B07F4A3D29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BC2C3B7B-F296-4F1C-A3E9-EB1F5B18EB45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917B4A2-1B16-460D-943B-6312133B7D0C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6E4F2A93-4DF0-4E59-BF65-8966714DD20E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BDD8A003-9AE5-4B20-8EA9-0275A9CC4B99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D82E5BB-384D-44E3-A7F7-3BAEA255C895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9698AD92-F657-4586-8320-01868B687C5F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3C8B883-FF9B-417D-B209-671E2BCE6B3E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2521B82-24AD-4B07-8D28-1A4C2AD2E877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13718486-28D2-441C-9F66-D5B1B276F556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F53ABCA-BF6F-4270-90E1-F219A0A59C99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307FC988-DF9C-4E2B-A5FE-2984926E617C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1FC5B5A2-0FBB-4613-B5BF-8292612F74AB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9DEFFC45-9D55-4D16-902B-432C772B653F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50394358-788B-427F-8413-798C8AAE614B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1284AE41-46A5-4D9A-AE97-BCC3E7E58324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E520E2B-0D6E-44F1-B3B7-3F2560468B5A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9CA374CE-FB87-421B-B8FF-D51430AE8D68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281176B7-2EC9-4077-B6F0-73176D93BD48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0C05BD13-806E-410A-9794-36742873A9F9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1DD4046D-CCBA-470D-AAA1-BEC69CC2A9F5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2D11356-9BD3-4A1F-A12C-4D5B488D2E99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631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ure">
            <a:extLst>
              <a:ext uri="{FF2B5EF4-FFF2-40B4-BE49-F238E27FC236}">
                <a16:creationId xmlns:a16="http://schemas.microsoft.com/office/drawing/2014/main" id="{438F0AAC-BB85-447B-84C1-BA43993E16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F57D84-E3D6-495D-BA92-EB4B3BD93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969CB91-2A2E-4F10-BBE7-C96FAFC74DE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E7131BAF-B3B5-423B-9458-B0BEFE81A810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532DE8AD-3B4E-447D-A365-2983DC34061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96154BA7-293E-47C2-97AE-BE2363DCFFC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39611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AF3692-A96D-407C-BC99-E8714BEE84E8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6018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5685733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Confidentiality Statement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872424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1767315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51BC5F-B32F-4466-8A83-CC217356C526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587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C9F7D-1B9F-458F-B024-35303770D9C9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683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1DDF5C-82E6-4D1B-8F99-C8919B8E3FB2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762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D38E87A-FABD-4998-8016-925190336526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0317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Texture">
            <a:extLst>
              <a:ext uri="{FF2B5EF4-FFF2-40B4-BE49-F238E27FC236}">
                <a16:creationId xmlns:a16="http://schemas.microsoft.com/office/drawing/2014/main" id="{4860EAC0-F044-4A6F-BFBE-82AB1D99C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grpSp>
        <p:nvGrpSpPr>
          <p:cNvPr id="15" name="Quote_Box">
            <a:extLst>
              <a:ext uri="{FF2B5EF4-FFF2-40B4-BE49-F238E27FC236}">
                <a16:creationId xmlns:a16="http://schemas.microsoft.com/office/drawing/2014/main" id="{68DD7B61-3364-4603-8F03-28555F69211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16" name="Quote_Box">
              <a:extLst>
                <a:ext uri="{FF2B5EF4-FFF2-40B4-BE49-F238E27FC236}">
                  <a16:creationId xmlns:a16="http://schemas.microsoft.com/office/drawing/2014/main" id="{830FC980-0595-46CB-B9DA-9A67EF0982CB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7" name="Icon">
              <a:extLst>
                <a:ext uri="{FF2B5EF4-FFF2-40B4-BE49-F238E27FC236}">
                  <a16:creationId xmlns:a16="http://schemas.microsoft.com/office/drawing/2014/main" id="{8D4D6F0D-53EC-4F32-9F6E-EAFB7CEA724C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Slide Number">
            <a:extLst>
              <a:ext uri="{FF2B5EF4-FFF2-40B4-BE49-F238E27FC236}">
                <a16:creationId xmlns:a16="http://schemas.microsoft.com/office/drawing/2014/main" id="{EA418614-4986-4D40-9A8B-1A553C79AB7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9" name="Logo">
            <a:extLst>
              <a:ext uri="{FF2B5EF4-FFF2-40B4-BE49-F238E27FC236}">
                <a16:creationId xmlns:a16="http://schemas.microsoft.com/office/drawing/2014/main" id="{165D4A83-F42E-4A46-A608-DF3D1D60B70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66B7F627-BC30-462E-A628-28FB780F487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5F1EF5C0-EEAF-4E58-89B2-E4B7E7D046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2AF21DC-1A97-47E9-ADE6-D99355607667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255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Texture">
            <a:extLst>
              <a:ext uri="{FF2B5EF4-FFF2-40B4-BE49-F238E27FC236}">
                <a16:creationId xmlns:a16="http://schemas.microsoft.com/office/drawing/2014/main" id="{03BC2835-2B9E-4B54-B565-0CD7DE5BDDE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grpSp>
        <p:nvGrpSpPr>
          <p:cNvPr id="21" name="Quote_Box">
            <a:extLst>
              <a:ext uri="{FF2B5EF4-FFF2-40B4-BE49-F238E27FC236}">
                <a16:creationId xmlns:a16="http://schemas.microsoft.com/office/drawing/2014/main" id="{07763C4F-4205-4220-A14A-409EC869A3E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22" name="Quote_Box">
              <a:extLst>
                <a:ext uri="{FF2B5EF4-FFF2-40B4-BE49-F238E27FC236}">
                  <a16:creationId xmlns:a16="http://schemas.microsoft.com/office/drawing/2014/main" id="{440D9330-4E7A-47D1-BDFD-22F547E89672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3" name="Icon">
              <a:extLst>
                <a:ext uri="{FF2B5EF4-FFF2-40B4-BE49-F238E27FC236}">
                  <a16:creationId xmlns:a16="http://schemas.microsoft.com/office/drawing/2014/main" id="{CD3A1B66-EF43-48F6-B333-A83D555AB41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pSp>
        <p:nvGrpSpPr>
          <p:cNvPr id="24" name="Quote_Box">
            <a:extLst>
              <a:ext uri="{FF2B5EF4-FFF2-40B4-BE49-F238E27FC236}">
                <a16:creationId xmlns:a16="http://schemas.microsoft.com/office/drawing/2014/main" id="{104D2F3B-5A31-4B7D-8759-6E959236835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25" name="Quote_Box">
              <a:extLst>
                <a:ext uri="{FF2B5EF4-FFF2-40B4-BE49-F238E27FC236}">
                  <a16:creationId xmlns:a16="http://schemas.microsoft.com/office/drawing/2014/main" id="{E424F0F9-C833-4463-A00C-D277E9B93BB1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7" name="Icon">
              <a:extLst>
                <a:ext uri="{FF2B5EF4-FFF2-40B4-BE49-F238E27FC236}">
                  <a16:creationId xmlns:a16="http://schemas.microsoft.com/office/drawing/2014/main" id="{A637433C-8612-457A-98B1-D1951B94D918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Slide Number">
            <a:extLst>
              <a:ext uri="{FF2B5EF4-FFF2-40B4-BE49-F238E27FC236}">
                <a16:creationId xmlns:a16="http://schemas.microsoft.com/office/drawing/2014/main" id="{EC5048C2-7D8A-4B42-9326-159FDE7304D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9" name="Logo">
            <a:extLst>
              <a:ext uri="{FF2B5EF4-FFF2-40B4-BE49-F238E27FC236}">
                <a16:creationId xmlns:a16="http://schemas.microsoft.com/office/drawing/2014/main" id="{3293ABC2-A791-47DF-ADA7-1AA4EBDF87E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AE3EC7A-BA9C-4EB8-8105-3197D50F509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A37BE746-C71A-4608-BF8F-49A4BFBE38B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F916D7A5-06CF-4F2D-A616-7A3FDBAC6463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6798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Confidentiality Statement Here</a:t>
            </a:r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Texture">
            <a:extLst>
              <a:ext uri="{FF2B5EF4-FFF2-40B4-BE49-F238E27FC236}">
                <a16:creationId xmlns:a16="http://schemas.microsoft.com/office/drawing/2014/main" id="{3DC49675-5293-48F6-83CE-DFB52730D2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4" name="Quote_Box">
            <a:extLst>
              <a:ext uri="{FF2B5EF4-FFF2-40B4-BE49-F238E27FC236}">
                <a16:creationId xmlns:a16="http://schemas.microsoft.com/office/drawing/2014/main" id="{1D3A2435-45DF-46D9-A621-262CE7056A96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Icon">
            <a:extLst>
              <a:ext uri="{FF2B5EF4-FFF2-40B4-BE49-F238E27FC236}">
                <a16:creationId xmlns:a16="http://schemas.microsoft.com/office/drawing/2014/main" id="{07D275CE-8383-4B11-AB82-251215CE286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7" name="Affiliation">
            <a:extLst>
              <a:ext uri="{FF2B5EF4-FFF2-40B4-BE49-F238E27FC236}">
                <a16:creationId xmlns:a16="http://schemas.microsoft.com/office/drawing/2014/main" id="{D72DCA8B-A1FA-4610-9276-239A352DCF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28" name="Name">
            <a:extLst>
              <a:ext uri="{FF2B5EF4-FFF2-40B4-BE49-F238E27FC236}">
                <a16:creationId xmlns:a16="http://schemas.microsoft.com/office/drawing/2014/main" id="{D7445990-7831-4FE7-A50E-2CA6FA60E89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DD4574B8-34E3-48E9-9E28-E5F7A208C8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0" name="Quote_Box">
            <a:extLst>
              <a:ext uri="{FF2B5EF4-FFF2-40B4-BE49-F238E27FC236}">
                <a16:creationId xmlns:a16="http://schemas.microsoft.com/office/drawing/2014/main" id="{671AF4B8-D4D3-4B0A-8216-DD80DEFD66C9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1" name="Icon">
            <a:extLst>
              <a:ext uri="{FF2B5EF4-FFF2-40B4-BE49-F238E27FC236}">
                <a16:creationId xmlns:a16="http://schemas.microsoft.com/office/drawing/2014/main" id="{3F27615E-7132-4599-845C-8C0EF7ED80E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32" name="Affiliation">
            <a:extLst>
              <a:ext uri="{FF2B5EF4-FFF2-40B4-BE49-F238E27FC236}">
                <a16:creationId xmlns:a16="http://schemas.microsoft.com/office/drawing/2014/main" id="{FF65D44D-C704-40E4-A2FA-A7D989F545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33" name="Name">
            <a:extLst>
              <a:ext uri="{FF2B5EF4-FFF2-40B4-BE49-F238E27FC236}">
                <a16:creationId xmlns:a16="http://schemas.microsoft.com/office/drawing/2014/main" id="{A230780D-4B6F-40A2-99C1-F83813E1FC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A42A1CA5-8BD7-422E-ABAA-0696A173BBE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5" name="Quote_Box">
            <a:extLst>
              <a:ext uri="{FF2B5EF4-FFF2-40B4-BE49-F238E27FC236}">
                <a16:creationId xmlns:a16="http://schemas.microsoft.com/office/drawing/2014/main" id="{CD45F75B-50F1-46E3-AE22-E75648731E2D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1" name="Icon">
            <a:extLst>
              <a:ext uri="{FF2B5EF4-FFF2-40B4-BE49-F238E27FC236}">
                <a16:creationId xmlns:a16="http://schemas.microsoft.com/office/drawing/2014/main" id="{78179382-5502-45A4-95B9-CED80832EF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ooter Placeholder 1">
            <a:extLst>
              <a:ext uri="{FF2B5EF4-FFF2-40B4-BE49-F238E27FC236}">
                <a16:creationId xmlns:a16="http://schemas.microsoft.com/office/drawing/2014/main" id="{868A9A15-6D48-451F-B0E0-F13B392E57F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038600" y="6447297"/>
            <a:ext cx="4114800" cy="153888"/>
          </a:xfrm>
        </p:spPr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3" name="Slide Number">
            <a:extLst>
              <a:ext uri="{FF2B5EF4-FFF2-40B4-BE49-F238E27FC236}">
                <a16:creationId xmlns:a16="http://schemas.microsoft.com/office/drawing/2014/main" id="{5B82CB15-0331-437C-A8C3-F482CCA79E3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44" name="Logo">
            <a:extLst>
              <a:ext uri="{FF2B5EF4-FFF2-40B4-BE49-F238E27FC236}">
                <a16:creationId xmlns:a16="http://schemas.microsoft.com/office/drawing/2014/main" id="{5C38E036-42E5-4690-A08C-9488DF26EA8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1B697BA0-357C-486A-ACE1-C9E4515BB55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4D26789C-245D-496F-97D8-984300EF7A7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6163A3B7-6B02-402E-9A30-3B80E2D1A653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790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Texture">
            <a:extLst>
              <a:ext uri="{FF2B5EF4-FFF2-40B4-BE49-F238E27FC236}">
                <a16:creationId xmlns:a16="http://schemas.microsoft.com/office/drawing/2014/main" id="{0A8B32FB-0A4B-4E8E-AA4F-C62A4854B08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3436E87-966A-431C-AB7C-77899025476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75E35A67-1D7E-4D6B-8CBE-6265AE29F40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11FC2AD5-8937-41EA-B0E6-287ECC8D93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D185B6D5-0CFB-4904-881A-B34DA59CFAA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061206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3F4FF34-A58B-408C-BF8A-44CA1F308875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9738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(No Tex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">
            <a:extLst>
              <a:ext uri="{FF2B5EF4-FFF2-40B4-BE49-F238E27FC236}">
                <a16:creationId xmlns:a16="http://schemas.microsoft.com/office/drawing/2014/main" id="{C1F06F61-6DD2-446B-987D-B384047C0878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5" name="Logo">
            <a:extLst>
              <a:ext uri="{FF2B5EF4-FFF2-40B4-BE49-F238E27FC236}">
                <a16:creationId xmlns:a16="http://schemas.microsoft.com/office/drawing/2014/main" id="{56CEE073-8BD3-492B-BD4A-547A71C58B3A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C4CFB3E-CC68-4065-BA51-35CB29381FC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0F4F0DF-D1F7-485E-8B01-94A5F0B04E4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FB5C1-1733-49B1-83F7-48444CAFE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07C7EC8E-CB8F-440E-9FC7-7D6ED6F9369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F10B5D7-2EAA-492C-BD01-1570901E3EC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4AB887D8-B73A-445B-BF9C-49811B83E75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44F8E037-30EC-43C9-B438-8B2E405F594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C7DE6E2-188B-4008-AF34-291E17A8D9BC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5350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Texture">
            <a:extLst>
              <a:ext uri="{FF2B5EF4-FFF2-40B4-BE49-F238E27FC236}">
                <a16:creationId xmlns:a16="http://schemas.microsoft.com/office/drawing/2014/main" id="{C3362474-4ADF-4627-AE29-381A2DB0A8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BF71DE9-5F17-4F6A-89C3-6388749F839D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FBA9CA66-F316-4BD5-BD72-FF0BCF25D7D4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3092C09-ACDD-497F-8EE7-DDEC8B022E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D20D14CC-AE5A-4B3D-B62C-921593FB8A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70091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80" name="GRID">
            <a:extLst>
              <a:ext uri="{FF2B5EF4-FFF2-40B4-BE49-F238E27FC236}">
                <a16:creationId xmlns:a16="http://schemas.microsoft.com/office/drawing/2014/main" id="{D95C697E-4FFE-449A-8378-9C4136BA35CB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81" name="5-Columns">
              <a:extLst>
                <a:ext uri="{FF2B5EF4-FFF2-40B4-BE49-F238E27FC236}">
                  <a16:creationId xmlns:a16="http://schemas.microsoft.com/office/drawing/2014/main" id="{5A9ED6CF-33F5-47F7-BE17-F4D55A40CD96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DEF46495-8056-4D61-BDDD-7037DF6901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500CF8C5-87D9-4A3C-824A-4DF356D7A7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AFC81EAB-690B-40B4-B6AF-404A6B4AC6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C1BE64E7-B07D-4ED6-91C6-F38E14EB987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5D171C4F-A733-4D84-8767-4A48141D2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82" name="Columns">
              <a:extLst>
                <a:ext uri="{FF2B5EF4-FFF2-40B4-BE49-F238E27FC236}">
                  <a16:creationId xmlns:a16="http://schemas.microsoft.com/office/drawing/2014/main" id="{FD0D755D-30F7-4DA5-BACE-B8F46F455D02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89C05EF5-A9E1-495A-8921-40878AE56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4834ED73-F5E8-4D3C-90DF-4E1E7395074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715F7C17-3EF4-4817-8F2A-251D34287AC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563A2877-591B-4235-9908-64C4C7BD146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F7C7D293-0362-4AA2-AEB6-5384C84D57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B2602F03-2F70-454C-9755-9CDBF6D0D9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199" name="Rectangle 198">
                <a:extLst>
                  <a:ext uri="{FF2B5EF4-FFF2-40B4-BE49-F238E27FC236}">
                    <a16:creationId xmlns:a16="http://schemas.microsoft.com/office/drawing/2014/main" id="{BC4E8123-4FA2-475F-89D6-60F48620A5D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28B58C16-BDAD-4ADB-9E2D-7BEEDE7DF0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1" name="Rectangle 200">
                <a:extLst>
                  <a:ext uri="{FF2B5EF4-FFF2-40B4-BE49-F238E27FC236}">
                    <a16:creationId xmlns:a16="http://schemas.microsoft.com/office/drawing/2014/main" id="{F445F785-EFD5-4B95-8080-CFEBB72125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2" name="Rectangle 201">
                <a:extLst>
                  <a:ext uri="{FF2B5EF4-FFF2-40B4-BE49-F238E27FC236}">
                    <a16:creationId xmlns:a16="http://schemas.microsoft.com/office/drawing/2014/main" id="{91607F1D-D618-45CF-AA33-C7C16812855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3" name="Rectangle 202">
                <a:extLst>
                  <a:ext uri="{FF2B5EF4-FFF2-40B4-BE49-F238E27FC236}">
                    <a16:creationId xmlns:a16="http://schemas.microsoft.com/office/drawing/2014/main" id="{1962BE54-4284-4BBE-9EA9-11D8FB3339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04" name="Rectangle 203">
                <a:extLst>
                  <a:ext uri="{FF2B5EF4-FFF2-40B4-BE49-F238E27FC236}">
                    <a16:creationId xmlns:a16="http://schemas.microsoft.com/office/drawing/2014/main" id="{8D7DD739-281F-40C8-91BC-A3A9413127B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83" name="Half-Columns">
              <a:extLst>
                <a:ext uri="{FF2B5EF4-FFF2-40B4-BE49-F238E27FC236}">
                  <a16:creationId xmlns:a16="http://schemas.microsoft.com/office/drawing/2014/main" id="{D3F207F1-AC5D-43E6-A6D4-DC510C9F94F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22324EC2-53B2-44FB-B2C0-3DA63ABC05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>
                <a:extLst>
                  <a:ext uri="{FF2B5EF4-FFF2-40B4-BE49-F238E27FC236}">
                    <a16:creationId xmlns:a16="http://schemas.microsoft.com/office/drawing/2014/main" id="{6FA10F8F-6611-4D18-B663-69243B2E2A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>
                <a:extLst>
                  <a:ext uri="{FF2B5EF4-FFF2-40B4-BE49-F238E27FC236}">
                    <a16:creationId xmlns:a16="http://schemas.microsoft.com/office/drawing/2014/main" id="{3535C8B5-B624-4DE5-AE2B-E966B35701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3E3A40D5-977E-4AA4-88DE-18E9C881C0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879682C8-7303-4D6F-8F74-02497C4A86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36007B07-9CDC-4412-BD23-852AED099E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7B2C7870-82B4-4178-B03D-E4DAE0E809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EEC96AB7-C257-4D86-AF7F-6D246CA649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6763827C-B8A2-4A66-B9EA-2F8D6C7D12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F9DD5439-CFE0-46A9-AB75-72C84568CB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E4FCD697-7B01-44E3-A572-31831DD447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CE4940FD-8D30-41BB-A478-B0DADE19B1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Minor-Baselines">
              <a:extLst>
                <a:ext uri="{FF2B5EF4-FFF2-40B4-BE49-F238E27FC236}">
                  <a16:creationId xmlns:a16="http://schemas.microsoft.com/office/drawing/2014/main" id="{0830B66F-6239-4F16-BAFC-ADC2CDECB937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A6707F87-9C9E-4CB1-89F9-86B3F2F5BC26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DDBA8EC9-3B99-4ABA-9391-7041A7B110D9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D964FEFC-7E54-4BA5-81B2-05F543D347CF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6E8650F1-3336-401B-942B-30CB9CA1D331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5E886DB1-0D30-418B-99ED-184A09BE23A0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5263B37C-A89B-468E-932B-5FE4C5B0B8A8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E0354AF2-3153-4CFE-80FD-4BA383ABDFB1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048E0C25-071C-48ED-8D1F-B17E56E1EDE1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888BB868-99AB-49AA-8D78-5A260C390CDF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BC2D81F4-163A-488F-9CF5-B73597103BF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B7A1A226-380A-4FD5-8F1D-5A93BF0CB04E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892DE33E-6805-472B-B12F-EBD1B3B86835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A699608B-34C1-496C-9BB9-BFF1D14FB375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FD6EB7B1-25F6-4D51-9921-E274EDA93730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CA4CD1B9-2E02-4FE8-A840-EDE0B4D5EDC5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CDB2F854-CFD8-4E39-9708-B9362CDE6A7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37578A4F-56F1-49A5-9461-3103B5C701EE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5" name="Major-Baselines">
              <a:extLst>
                <a:ext uri="{FF2B5EF4-FFF2-40B4-BE49-F238E27FC236}">
                  <a16:creationId xmlns:a16="http://schemas.microsoft.com/office/drawing/2014/main" id="{D159B3EF-F75E-4323-836C-D116EC12829D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5024511B-C837-434C-B7BE-5B9BF90DFFC3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36979A69-0004-47F0-BC7F-B085E33EB8A5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7464BCF7-7AE8-4170-B3C1-D787ECCC89E3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6F522194-10B0-46B9-8EC7-65032A2A1220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5461D5BD-AE30-4D2D-9222-58ADE7A281D5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A8F8827E-0652-4A76-B7EA-EA646A62F000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C724CF88-B8BB-457D-8DFE-5DE7B04F95C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67148957-130D-4BE2-9507-49F94FC1100D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ACF98635-2EDF-4341-B97A-8BC976691BA3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15F5BC65-5958-49CD-940D-562F45B31ABC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783B1650-ECC6-4DE7-B8B3-E106B75D27C8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55570E43-9B18-4C9D-8DDA-D94BF12CDC5C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FFBA9C61-C04F-47B6-9AE9-2A0365076F3E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E3002521-7AE8-4089-91DB-594C783A417A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51A5979C-172A-4075-994E-F379839E8DD3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70F6395C-9A9D-48DE-A84B-73AC5C1167F3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Margins">
              <a:extLst>
                <a:ext uri="{FF2B5EF4-FFF2-40B4-BE49-F238E27FC236}">
                  <a16:creationId xmlns:a16="http://schemas.microsoft.com/office/drawing/2014/main" id="{76DE6DF8-7CE9-4E8B-BEC6-8836712892A1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54BD3D1C-0B5F-4CB3-B57B-33753609F6E3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21265261-6128-4A4F-9F19-6E3F47620B45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CB9DFF4B-A21A-415B-BDAE-7F19D287794F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44BC69CE-2F56-47C8-96BE-925995C8C3F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86C8ABB3-A1DB-44A1-BE1F-158CDAFE54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E8927D8D-9C98-432F-8664-380C6A416D2F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E9E769C3-25A3-44F5-97B3-6DF7E7245D69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id="{6CDBC0CB-1C58-4972-9428-8DE131D2767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E3D86B8F-C70A-4CD1-9203-8AD9A2C6DA7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29778387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2453" y="228600"/>
            <a:ext cx="10986347" cy="514350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5371" y="6492826"/>
            <a:ext cx="367029" cy="21277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10000"/>
              </a:lnSpc>
              <a:defRPr sz="750">
                <a:solidFill>
                  <a:schemeClr val="tx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0737934" y="6150945"/>
            <a:ext cx="145406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09D6A83E-3274-4DCC-A095-F1BE4D687F44}" type="datetime1">
              <a:rPr lang="de-DE" smtClean="0"/>
              <a:t>22.09.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1728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No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 – No Subtitle</a:t>
            </a:r>
          </a:p>
        </p:txBody>
      </p:sp>
    </p:spTree>
    <p:extLst>
      <p:ext uri="{BB962C8B-B14F-4D97-AF65-F5344CB8AC3E}">
        <p14:creationId xmlns:p14="http://schemas.microsoft.com/office/powerpoint/2010/main" val="3469811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B59647-4FA4-4C90-A96E-10519DEDB17C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182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201" y="1627023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50025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DAFBDF0-2DA2-47B7-AB08-0A8104AAB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516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1445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1CA90-172A-4B01-85B1-BF1CB42BD27B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41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588036-B4E0-4FDF-A83A-6E7B9958F209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8026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Heading 1, 28pt</a:t>
            </a:r>
          </a:p>
          <a:p>
            <a:pPr lvl="4"/>
            <a:r>
              <a:rPr lang="en-US" dirty="0"/>
              <a:t>Fifth level: Description 1, 18pt</a:t>
            </a:r>
          </a:p>
          <a:p>
            <a:pPr lvl="5"/>
            <a:r>
              <a:rPr lang="en-US" dirty="0"/>
              <a:t>Sixth level: Heading 2, 22pt</a:t>
            </a:r>
          </a:p>
          <a:p>
            <a:pPr lvl="6"/>
            <a:r>
              <a:rPr lang="en-US" dirty="0"/>
              <a:t>Seventh level: Description 2, 16pt</a:t>
            </a:r>
          </a:p>
          <a:p>
            <a:pPr lvl="7"/>
            <a:r>
              <a:rPr lang="en-US" dirty="0"/>
              <a:t>Eighth level: Stats 1, 36pt</a:t>
            </a:r>
          </a:p>
          <a:p>
            <a:pPr lvl="8"/>
            <a:r>
              <a:rPr lang="en-US" dirty="0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20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698" r:id="rId9"/>
    <p:sldLayoutId id="2147483740" r:id="rId10"/>
    <p:sldLayoutId id="2147483735" r:id="rId11"/>
    <p:sldLayoutId id="2147483738" r:id="rId12"/>
    <p:sldLayoutId id="2147483737" r:id="rId13"/>
    <p:sldLayoutId id="2147483732" r:id="rId14"/>
    <p:sldLayoutId id="2147483728" r:id="rId15"/>
    <p:sldLayoutId id="2147483700" r:id="rId16"/>
    <p:sldLayoutId id="2147483729" r:id="rId17"/>
    <p:sldLayoutId id="2147483702" r:id="rId18"/>
    <p:sldLayoutId id="2147483763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446518C-C5C5-4D58-B4D2-B85C0BD81B00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8CF84-0D02-4614-8A26-93A1CB865A2B}"/>
              </a:ext>
            </a:extLst>
          </p:cNvPr>
          <p:cNvSpPr/>
          <p:nvPr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Heading 1, 28pt</a:t>
            </a:r>
          </a:p>
          <a:p>
            <a:pPr lvl="4"/>
            <a:r>
              <a:rPr lang="en-US" dirty="0"/>
              <a:t>Fifth level: Description 1, 18pt</a:t>
            </a:r>
          </a:p>
          <a:p>
            <a:pPr lvl="5"/>
            <a:r>
              <a:rPr lang="en-US" dirty="0"/>
              <a:t>Sixth level: Heading 2, 22pt</a:t>
            </a:r>
          </a:p>
          <a:p>
            <a:pPr lvl="6"/>
            <a:r>
              <a:rPr lang="en-US" dirty="0"/>
              <a:t>Seventh level: Description 2, 16pt</a:t>
            </a:r>
          </a:p>
          <a:p>
            <a:pPr lvl="7"/>
            <a:r>
              <a:rPr lang="en-US" dirty="0"/>
              <a:t>Eighth level: Stats 1, 36pt</a:t>
            </a:r>
          </a:p>
          <a:p>
            <a:pPr lvl="8"/>
            <a:r>
              <a:rPr lang="en-US" dirty="0"/>
              <a:t>Ninth level: Stats 2, 48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Optional Title of the Presentation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D005F2F-3BE9-40F0-B6CC-BBB2EC6E6A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/>
          <a:srcRect l="15280" b="23627"/>
          <a:stretch/>
        </p:blipFill>
        <p:spPr>
          <a:xfrm>
            <a:off x="0" y="6024563"/>
            <a:ext cx="2112478" cy="83343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DB32CE-04C4-4463-92FD-9E79609E36C8}"/>
              </a:ext>
            </a:extLst>
          </p:cNvPr>
          <p:cNvSpPr/>
          <p:nvPr userDrawn="1"/>
        </p:nvSpPr>
        <p:spPr>
          <a:xfrm>
            <a:off x="0" y="0"/>
            <a:ext cx="327025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C8B8B5D4-DA0D-4D10-9A15-25A071363AC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5" name="Logo">
            <a:extLst>
              <a:ext uri="{FF2B5EF4-FFF2-40B4-BE49-F238E27FC236}">
                <a16:creationId xmlns:a16="http://schemas.microsoft.com/office/drawing/2014/main" id="{D15FE222-9B3D-443D-BEE0-2EB92B1B77E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3C1BE62-506A-4367-8799-B2E98E3F816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7F4F579-E20E-4281-9A68-1BD3A36C057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4A790263-4C52-406B-BA0A-7C6C4F9818A7}"/>
              </a:ext>
            </a:extLst>
          </p:cNvPr>
          <p:cNvSpPr txBox="1"/>
          <p:nvPr userDrawn="1"/>
        </p:nvSpPr>
        <p:spPr>
          <a:xfrm>
            <a:off x="4482949" y="6423639"/>
            <a:ext cx="237500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de-DE" sz="1200" dirty="0">
                <a:solidFill>
                  <a:srgbClr val="C00000"/>
                </a:solidFill>
              </a:rPr>
              <a:t>All Material </a:t>
            </a:r>
            <a:r>
              <a:rPr lang="de-DE" sz="1200" dirty="0" err="1">
                <a:solidFill>
                  <a:srgbClr val="C00000"/>
                </a:solidFill>
              </a:rPr>
              <a:t>under</a:t>
            </a:r>
            <a:r>
              <a:rPr lang="de-DE" sz="1200" dirty="0">
                <a:solidFill>
                  <a:srgbClr val="C00000"/>
                </a:solidFill>
              </a:rPr>
              <a:t> Non-</a:t>
            </a:r>
            <a:r>
              <a:rPr lang="de-DE" sz="1200" dirty="0" err="1">
                <a:solidFill>
                  <a:srgbClr val="C00000"/>
                </a:solidFill>
              </a:rPr>
              <a:t>Disclosure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904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800" b="1" kern="1200" cap="all" spc="6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​"/>
        <a:defRPr lang="en-US" sz="18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200" b="1" kern="1200" cap="all" spc="60" baseline="0" dirty="0" smtClean="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200"/>
        </a:spcBef>
        <a:spcAft>
          <a:spcPts val="600"/>
        </a:spcAft>
        <a:buFont typeface="Arial" panose="020B0604020202020204" pitchFamily="34" charset="0"/>
        <a:buChar char="​"/>
        <a:defRPr lang="en-US" sz="1600" kern="120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36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4800" b="1" i="1" kern="120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support.ixiacom.com/software-downloads/236052" TargetMode="Externa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support.ixiacom.com/software-downloads/234082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support.ixiacom.com/ixvm-ixos-910-ixnetwork-910-ixload-910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2354EF-88AF-4F94-A95E-F46279720F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Global System Integrator Tea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264F6-154F-4FCD-BBB3-C459A3ADE6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202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045F46-8A88-4D88-B390-270E330FCB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Dan Sinawa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14E67-E40F-41CB-9B53-C634BFE3E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9700" y="637953"/>
            <a:ext cx="9372600" cy="2155850"/>
          </a:xfrm>
        </p:spPr>
        <p:txBody>
          <a:bodyPr/>
          <a:lstStyle/>
          <a:p>
            <a:r>
              <a:rPr lang="en-US" dirty="0"/>
              <a:t>Tech M – Keysight </a:t>
            </a:r>
            <a:br>
              <a:rPr lang="en-US" dirty="0"/>
            </a:br>
            <a:r>
              <a:rPr lang="en-US" dirty="0"/>
              <a:t>5G Projects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425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85184-B02C-4528-BC0F-A74784E963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201" y="1359773"/>
            <a:ext cx="8165881" cy="4479059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US" sz="1600" dirty="0"/>
              <a:t>Prepare VM Images </a:t>
            </a:r>
          </a:p>
          <a:p>
            <a:pPr marL="457200" indent="-457200">
              <a:buAutoNum type="arabicPeriod"/>
            </a:pPr>
            <a:r>
              <a:rPr lang="en-US" sz="1600" dirty="0"/>
              <a:t>Download 5G </a:t>
            </a:r>
            <a:r>
              <a:rPr lang="en-US" sz="1600" dirty="0" err="1"/>
              <a:t>Loadcore</a:t>
            </a:r>
            <a:r>
              <a:rPr lang="en-US" sz="1600" dirty="0"/>
              <a:t> Images from our Support Portal </a:t>
            </a:r>
            <a:r>
              <a:rPr lang="en-US" sz="1600" dirty="0">
                <a:hlinkClick r:id="rId2"/>
              </a:rPr>
              <a:t>https://support.ixiacom.com/software-downloads/236052</a:t>
            </a:r>
            <a:endParaRPr lang="en-US" sz="1600" dirty="0"/>
          </a:p>
          <a:p>
            <a:pPr marL="457200" indent="-457200">
              <a:buAutoNum type="arabicPeriod"/>
            </a:pPr>
            <a:r>
              <a:rPr lang="en-US" sz="1600" dirty="0"/>
              <a:t>Deploy 5G </a:t>
            </a:r>
            <a:r>
              <a:rPr lang="en-US" sz="1600" dirty="0" err="1"/>
              <a:t>Loadcore</a:t>
            </a:r>
            <a:r>
              <a:rPr lang="en-US" sz="1600" dirty="0"/>
              <a:t> Middleware VM and one or Agent VMs on the Public/ Private Cloud infrastructure using our Installation Guide</a:t>
            </a:r>
          </a:p>
          <a:p>
            <a:pPr marL="457200" indent="-457200">
              <a:buAutoNum type="arabicPeriod"/>
            </a:pPr>
            <a:r>
              <a:rPr lang="en-US" sz="1600" dirty="0"/>
              <a:t>Provision </a:t>
            </a:r>
            <a:r>
              <a:rPr lang="en-US" sz="1600" dirty="0" err="1"/>
              <a:t>Loadcore</a:t>
            </a:r>
            <a:r>
              <a:rPr lang="en-US" sz="1600" dirty="0"/>
              <a:t> Network Management and Test NIC interfaces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600" dirty="0"/>
              <a:t>Login to </a:t>
            </a:r>
            <a:r>
              <a:rPr lang="en-US" sz="1600" dirty="0" err="1"/>
              <a:t>Loadcore</a:t>
            </a:r>
            <a:r>
              <a:rPr lang="en-US" sz="1600" dirty="0"/>
              <a:t> Agents and runs agent-setup.sh script and connect to the Middleware VMs</a:t>
            </a:r>
          </a:p>
          <a:p>
            <a:pPr marL="457200" indent="-457200">
              <a:buAutoNum type="arabicPeriod"/>
            </a:pPr>
            <a:r>
              <a:rPr lang="en-US" sz="1600" dirty="0"/>
              <a:t>Product Licensing from the Web UI of the Licensing Server</a:t>
            </a:r>
          </a:p>
          <a:p>
            <a:pPr marL="457200" indent="-457200">
              <a:buAutoNum type="arabicPeriod"/>
            </a:pPr>
            <a:r>
              <a:rPr lang="en-US" sz="1600" dirty="0"/>
              <a:t>Access Middleware Web UI for </a:t>
            </a:r>
            <a:r>
              <a:rPr lang="en-US" sz="1600" dirty="0" err="1"/>
              <a:t>Lodcoremanual</a:t>
            </a:r>
            <a:r>
              <a:rPr lang="en-US" sz="1600" dirty="0"/>
              <a:t> configurations</a:t>
            </a:r>
          </a:p>
          <a:p>
            <a:pPr marL="457200" indent="-457200">
              <a:buAutoNum type="arabicPeriod"/>
            </a:pPr>
            <a:r>
              <a:rPr lang="en-US" sz="1600" dirty="0"/>
              <a:t>Deploy Test Modules in </a:t>
            </a:r>
            <a:r>
              <a:rPr lang="en-US" sz="1600" dirty="0" err="1"/>
              <a:t>CloudPeak</a:t>
            </a:r>
            <a:r>
              <a:rPr lang="en-US" sz="1600" dirty="0"/>
              <a:t> /</a:t>
            </a:r>
            <a:r>
              <a:rPr lang="en-US" sz="1600" dirty="0" err="1"/>
              <a:t>IxSuiteStore</a:t>
            </a:r>
            <a:r>
              <a:rPr lang="en-US" sz="1600" dirty="0"/>
              <a:t> with predefined 5G Core test cases</a:t>
            </a:r>
          </a:p>
          <a:p>
            <a:pPr marL="457200" indent="-457200">
              <a:buAutoNum type="arabicPeriod"/>
            </a:pPr>
            <a:r>
              <a:rPr lang="en-US" sz="1600" dirty="0"/>
              <a:t>Run 5G Test cases from the Test Module Library </a:t>
            </a:r>
          </a:p>
          <a:p>
            <a:pPr marL="457200" indent="-457200">
              <a:buAutoNum type="arabicPeriod"/>
            </a:pPr>
            <a:r>
              <a:rPr lang="en-US" sz="1600" dirty="0"/>
              <a:t>REST API automation integration with external </a:t>
            </a:r>
            <a:r>
              <a:rPr lang="en-US" sz="1600" dirty="0" err="1"/>
              <a:t>Net.Ops</a:t>
            </a:r>
            <a:r>
              <a:rPr lang="en-US" sz="1600" dirty="0"/>
              <a:t> Orchestrator</a:t>
            </a:r>
          </a:p>
          <a:p>
            <a:pPr marL="457200" indent="-457200">
              <a:buAutoNum type="arabicPeriod"/>
            </a:pPr>
            <a:r>
              <a:rPr lang="en-US" sz="1600" dirty="0"/>
              <a:t>Automate Task from </a:t>
            </a:r>
            <a:r>
              <a:rPr lang="en-US" sz="1600" dirty="0" err="1"/>
              <a:t>Net.Ops</a:t>
            </a:r>
            <a:r>
              <a:rPr lang="en-US" sz="1600" dirty="0"/>
              <a:t> to execute Test Cas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5082A6-44E7-47A1-B409-3D188741B7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201" y="920555"/>
            <a:ext cx="7453790" cy="15521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CBEE98-6D21-41EA-9166-CD6EACC9A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G </a:t>
            </a:r>
            <a:r>
              <a:rPr lang="en-US" dirty="0" err="1"/>
              <a:t>LoadCore</a:t>
            </a:r>
            <a:r>
              <a:rPr lang="en-US" dirty="0"/>
              <a:t> Deployment Stages Overview</a:t>
            </a:r>
          </a:p>
        </p:txBody>
      </p:sp>
    </p:spTree>
    <p:extLst>
      <p:ext uri="{BB962C8B-B14F-4D97-AF65-F5344CB8AC3E}">
        <p14:creationId xmlns:p14="http://schemas.microsoft.com/office/powerpoint/2010/main" val="523963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5D8456-A8AC-403C-B688-439763F2AF0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0262" y="1767010"/>
            <a:ext cx="7453411" cy="4479059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High Level Design – 2-3 days</a:t>
            </a:r>
          </a:p>
          <a:p>
            <a:r>
              <a:rPr lang="en-US" dirty="0"/>
              <a:t>Validate Testing  Architecture – 1-2 days</a:t>
            </a:r>
          </a:p>
          <a:p>
            <a:r>
              <a:rPr lang="en-US" dirty="0"/>
              <a:t> Prepare and Provision Deployment environment – 1-2 days</a:t>
            </a:r>
          </a:p>
          <a:p>
            <a:r>
              <a:rPr lang="en-US" dirty="0" err="1"/>
              <a:t>Ixload</a:t>
            </a:r>
            <a:r>
              <a:rPr lang="en-US" dirty="0"/>
              <a:t> VE Basic Setup Deployment – 1 week</a:t>
            </a:r>
          </a:p>
          <a:p>
            <a:r>
              <a:rPr lang="en-US" dirty="0" err="1"/>
              <a:t>Loadcore</a:t>
            </a:r>
            <a:r>
              <a:rPr lang="en-US" dirty="0"/>
              <a:t> Basic Setup Deployment – 1 week</a:t>
            </a:r>
          </a:p>
          <a:p>
            <a:r>
              <a:rPr lang="en-US" dirty="0"/>
              <a:t>Cloud Peak + Test Module Setup Deployment – 1 week ; </a:t>
            </a:r>
          </a:p>
          <a:p>
            <a:r>
              <a:rPr lang="en-US" dirty="0"/>
              <a:t>REST API integration with </a:t>
            </a:r>
            <a:r>
              <a:rPr lang="en-US" dirty="0" err="1"/>
              <a:t>Net.Ops</a:t>
            </a:r>
            <a:r>
              <a:rPr lang="en-US" dirty="0"/>
              <a:t> Orchestrator – 2-3 Days</a:t>
            </a:r>
          </a:p>
          <a:p>
            <a:r>
              <a:rPr lang="en-US" dirty="0"/>
              <a:t>Test and Validate Automation –  from 1 to 3 week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07E73F-B544-43F6-A294-F8C8D046B1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18BC9FF-9016-4688-A21E-AF99F5B60B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proposal draft</a:t>
            </a:r>
          </a:p>
        </p:txBody>
      </p:sp>
    </p:spTree>
    <p:extLst>
      <p:ext uri="{BB962C8B-B14F-4D97-AF65-F5344CB8AC3E}">
        <p14:creationId xmlns:p14="http://schemas.microsoft.com/office/powerpoint/2010/main" val="7561241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416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B765E13-ADE4-440F-A1B1-9DE7072A998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0" y="1784938"/>
            <a:ext cx="5532120" cy="4479059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hase 2 – Public Cloud AWS</a:t>
            </a:r>
          </a:p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ublic Cloud – AWS </a:t>
            </a:r>
          </a:p>
          <a:p>
            <a:endParaRPr 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FVI Validation –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loudPeak</a:t>
            </a:r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5G Core Emulation –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oadCore</a:t>
            </a:r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;</a:t>
            </a: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4G Core Emulation –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xload</a:t>
            </a:r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VE</a:t>
            </a: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tomation – Test Module Integration </a:t>
            </a: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xternal integration via REST API with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et.Ops</a:t>
            </a:r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</a:p>
          <a:p>
            <a:pPr marL="365760" lvl="2" indent="0">
              <a:buNone/>
            </a:pPr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A370B1-12B8-4A9E-BE1E-CC077A20254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3880" y="1784939"/>
            <a:ext cx="5532120" cy="4479059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hase 1 – Private Cloud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penstack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with KVM</a:t>
            </a:r>
          </a:p>
          <a:p>
            <a:pPr marL="0" indent="0">
              <a:buNone/>
            </a:pPr>
            <a:endParaRPr 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1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ivate Cloud – OpenStack with KVM </a:t>
            </a:r>
          </a:p>
          <a:p>
            <a:pPr lvl="1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FVI Validation –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loudPeak</a:t>
            </a:r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5G Core Emulation –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oadCore</a:t>
            </a:r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;</a:t>
            </a: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4G Core Emulation –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xload</a:t>
            </a:r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VE</a:t>
            </a: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tomation – Test Module Integration</a:t>
            </a:r>
          </a:p>
          <a:p>
            <a:pPr lvl="2"/>
            <a:endParaRPr lang="en-US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lvl="2"/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xternal integration via REST API with </a:t>
            </a:r>
            <a:r>
              <a:rPr lang="en-US" sz="20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et.Ops</a:t>
            </a:r>
            <a:r>
              <a:rPr lang="en-US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</a:p>
          <a:p>
            <a:pPr marL="365760" lvl="2" indent="0">
              <a:buNone/>
            </a:pPr>
            <a:endParaRPr lang="en-US" dirty="0"/>
          </a:p>
          <a:p>
            <a:pPr lvl="3"/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E6B28-4977-466E-8F0A-640BCFAA5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201" y="920555"/>
            <a:ext cx="7453790" cy="208998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6ECAFC-6436-4BB2-9C87-D5A248243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 Mahindra POC Project Plan</a:t>
            </a:r>
          </a:p>
        </p:txBody>
      </p:sp>
    </p:spTree>
    <p:extLst>
      <p:ext uri="{BB962C8B-B14F-4D97-AF65-F5344CB8AC3E}">
        <p14:creationId xmlns:p14="http://schemas.microsoft.com/office/powerpoint/2010/main" val="2970596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9A6EDA-367B-4888-A202-F38931BB7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146" y="203699"/>
            <a:ext cx="11293597" cy="492443"/>
          </a:xfrm>
        </p:spPr>
        <p:txBody>
          <a:bodyPr/>
          <a:lstStyle/>
          <a:p>
            <a:r>
              <a:rPr lang="en-US" dirty="0"/>
              <a:t>Automation Architecture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6BAEDA-8F57-4A0B-866A-BF880E985E6A}"/>
              </a:ext>
            </a:extLst>
          </p:cNvPr>
          <p:cNvSpPr/>
          <p:nvPr/>
        </p:nvSpPr>
        <p:spPr>
          <a:xfrm>
            <a:off x="4390323" y="2917448"/>
            <a:ext cx="2786427" cy="15905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softEdge rad="1270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1E46D1-9A43-4425-88E1-32D77E2D8C22}"/>
              </a:ext>
            </a:extLst>
          </p:cNvPr>
          <p:cNvSpPr/>
          <p:nvPr/>
        </p:nvSpPr>
        <p:spPr>
          <a:xfrm>
            <a:off x="2889241" y="1105266"/>
            <a:ext cx="6697253" cy="81205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37AF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DECA6AF-8222-4856-81A4-3C15AF7A2876}"/>
              </a:ext>
            </a:extLst>
          </p:cNvPr>
          <p:cNvSpPr/>
          <p:nvPr/>
        </p:nvSpPr>
        <p:spPr>
          <a:xfrm>
            <a:off x="2889241" y="5456334"/>
            <a:ext cx="6697262" cy="1078157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9F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E2CB35A-2C95-4FFF-ADA0-90B8BFD64E9C}"/>
              </a:ext>
            </a:extLst>
          </p:cNvPr>
          <p:cNvSpPr/>
          <p:nvPr/>
        </p:nvSpPr>
        <p:spPr>
          <a:xfrm>
            <a:off x="3033472" y="5528563"/>
            <a:ext cx="3031463" cy="933700"/>
          </a:xfrm>
          <a:prstGeom prst="roundRect">
            <a:avLst>
              <a:gd name="adj" fmla="val 4926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13">
            <a:extLst>
              <a:ext uri="{FF2B5EF4-FFF2-40B4-BE49-F238E27FC236}">
                <a16:creationId xmlns:a16="http://schemas.microsoft.com/office/drawing/2014/main" id="{E0BDDE0E-D5D7-4202-8FCA-CDF3402094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13414" y="5834526"/>
            <a:ext cx="674505" cy="369242"/>
            <a:chOff x="3032" y="1717"/>
            <a:chExt cx="1613" cy="883"/>
          </a:xfrm>
          <a:solidFill>
            <a:srgbClr val="37AFC8"/>
          </a:solidFill>
        </p:grpSpPr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A89BA96C-602E-4542-B5AC-63267A157C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2" y="1717"/>
              <a:ext cx="1613" cy="883"/>
            </a:xfrm>
            <a:custGeom>
              <a:avLst/>
              <a:gdLst>
                <a:gd name="T0" fmla="*/ 461 w 602"/>
                <a:gd name="T1" fmla="*/ 100 h 328"/>
                <a:gd name="T2" fmla="*/ 458 w 602"/>
                <a:gd name="T3" fmla="*/ 99 h 328"/>
                <a:gd name="T4" fmla="*/ 315 w 602"/>
                <a:gd name="T5" fmla="*/ 0 h 328"/>
                <a:gd name="T6" fmla="*/ 177 w 602"/>
                <a:gd name="T7" fmla="*/ 87 h 328"/>
                <a:gd name="T8" fmla="*/ 162 w 602"/>
                <a:gd name="T9" fmla="*/ 86 h 328"/>
                <a:gd name="T10" fmla="*/ 81 w 602"/>
                <a:gd name="T11" fmla="*/ 156 h 328"/>
                <a:gd name="T12" fmla="*/ 0 w 602"/>
                <a:gd name="T13" fmla="*/ 266 h 328"/>
                <a:gd name="T14" fmla="*/ 13 w 602"/>
                <a:gd name="T15" fmla="*/ 321 h 328"/>
                <a:gd name="T16" fmla="*/ 16 w 602"/>
                <a:gd name="T17" fmla="*/ 328 h 328"/>
                <a:gd name="T18" fmla="*/ 576 w 602"/>
                <a:gd name="T19" fmla="*/ 328 h 328"/>
                <a:gd name="T20" fmla="*/ 580 w 602"/>
                <a:gd name="T21" fmla="*/ 322 h 328"/>
                <a:gd name="T22" fmla="*/ 602 w 602"/>
                <a:gd name="T23" fmla="*/ 243 h 328"/>
                <a:gd name="T24" fmla="*/ 461 w 602"/>
                <a:gd name="T25" fmla="*/ 100 h 328"/>
                <a:gd name="T26" fmla="*/ 563 w 602"/>
                <a:gd name="T27" fmla="*/ 304 h 328"/>
                <a:gd name="T28" fmla="*/ 31 w 602"/>
                <a:gd name="T29" fmla="*/ 304 h 328"/>
                <a:gd name="T30" fmla="*/ 24 w 602"/>
                <a:gd name="T31" fmla="*/ 266 h 328"/>
                <a:gd name="T32" fmla="*/ 94 w 602"/>
                <a:gd name="T33" fmla="*/ 178 h 328"/>
                <a:gd name="T34" fmla="*/ 104 w 602"/>
                <a:gd name="T35" fmla="*/ 176 h 328"/>
                <a:gd name="T36" fmla="*/ 104 w 602"/>
                <a:gd name="T37" fmla="*/ 166 h 328"/>
                <a:gd name="T38" fmla="*/ 162 w 602"/>
                <a:gd name="T39" fmla="*/ 110 h 328"/>
                <a:gd name="T40" fmla="*/ 180 w 602"/>
                <a:gd name="T41" fmla="*/ 113 h 328"/>
                <a:gd name="T42" fmla="*/ 191 w 602"/>
                <a:gd name="T43" fmla="*/ 116 h 328"/>
                <a:gd name="T44" fmla="*/ 195 w 602"/>
                <a:gd name="T45" fmla="*/ 106 h 328"/>
                <a:gd name="T46" fmla="*/ 315 w 602"/>
                <a:gd name="T47" fmla="*/ 24 h 328"/>
                <a:gd name="T48" fmla="*/ 438 w 602"/>
                <a:gd name="T49" fmla="*/ 115 h 328"/>
                <a:gd name="T50" fmla="*/ 441 w 602"/>
                <a:gd name="T51" fmla="*/ 124 h 328"/>
                <a:gd name="T52" fmla="*/ 451 w 602"/>
                <a:gd name="T53" fmla="*/ 123 h 328"/>
                <a:gd name="T54" fmla="*/ 455 w 602"/>
                <a:gd name="T55" fmla="*/ 123 h 328"/>
                <a:gd name="T56" fmla="*/ 461 w 602"/>
                <a:gd name="T57" fmla="*/ 124 h 328"/>
                <a:gd name="T58" fmla="*/ 578 w 602"/>
                <a:gd name="T59" fmla="*/ 243 h 328"/>
                <a:gd name="T60" fmla="*/ 563 w 602"/>
                <a:gd name="T61" fmla="*/ 30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2" h="328">
                  <a:moveTo>
                    <a:pt x="461" y="100"/>
                  </a:moveTo>
                  <a:cubicBezTo>
                    <a:pt x="460" y="100"/>
                    <a:pt x="459" y="99"/>
                    <a:pt x="458" y="99"/>
                  </a:cubicBezTo>
                  <a:cubicBezTo>
                    <a:pt x="436" y="40"/>
                    <a:pt x="379" y="0"/>
                    <a:pt x="315" y="0"/>
                  </a:cubicBezTo>
                  <a:cubicBezTo>
                    <a:pt x="255" y="0"/>
                    <a:pt x="202" y="34"/>
                    <a:pt x="177" y="87"/>
                  </a:cubicBezTo>
                  <a:cubicBezTo>
                    <a:pt x="172" y="86"/>
                    <a:pt x="167" y="86"/>
                    <a:pt x="162" y="86"/>
                  </a:cubicBezTo>
                  <a:cubicBezTo>
                    <a:pt x="121" y="86"/>
                    <a:pt x="86" y="116"/>
                    <a:pt x="81" y="156"/>
                  </a:cubicBezTo>
                  <a:cubicBezTo>
                    <a:pt x="34" y="169"/>
                    <a:pt x="0" y="215"/>
                    <a:pt x="0" y="266"/>
                  </a:cubicBezTo>
                  <a:cubicBezTo>
                    <a:pt x="0" y="284"/>
                    <a:pt x="4" y="303"/>
                    <a:pt x="13" y="321"/>
                  </a:cubicBezTo>
                  <a:cubicBezTo>
                    <a:pt x="16" y="328"/>
                    <a:pt x="16" y="328"/>
                    <a:pt x="16" y="328"/>
                  </a:cubicBezTo>
                  <a:cubicBezTo>
                    <a:pt x="576" y="328"/>
                    <a:pt x="576" y="328"/>
                    <a:pt x="576" y="328"/>
                  </a:cubicBezTo>
                  <a:cubicBezTo>
                    <a:pt x="580" y="322"/>
                    <a:pt x="580" y="322"/>
                    <a:pt x="580" y="322"/>
                  </a:cubicBezTo>
                  <a:cubicBezTo>
                    <a:pt x="593" y="301"/>
                    <a:pt x="602" y="271"/>
                    <a:pt x="602" y="243"/>
                  </a:cubicBezTo>
                  <a:cubicBezTo>
                    <a:pt x="602" y="164"/>
                    <a:pt x="538" y="100"/>
                    <a:pt x="461" y="100"/>
                  </a:cubicBezTo>
                  <a:close/>
                  <a:moveTo>
                    <a:pt x="563" y="304"/>
                  </a:moveTo>
                  <a:cubicBezTo>
                    <a:pt x="31" y="304"/>
                    <a:pt x="31" y="304"/>
                    <a:pt x="31" y="304"/>
                  </a:cubicBezTo>
                  <a:cubicBezTo>
                    <a:pt x="27" y="291"/>
                    <a:pt x="24" y="278"/>
                    <a:pt x="24" y="266"/>
                  </a:cubicBezTo>
                  <a:cubicBezTo>
                    <a:pt x="24" y="224"/>
                    <a:pt x="55" y="185"/>
                    <a:pt x="94" y="178"/>
                  </a:cubicBezTo>
                  <a:cubicBezTo>
                    <a:pt x="104" y="176"/>
                    <a:pt x="104" y="176"/>
                    <a:pt x="104" y="176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35"/>
                    <a:pt x="131" y="110"/>
                    <a:pt x="162" y="110"/>
                  </a:cubicBezTo>
                  <a:cubicBezTo>
                    <a:pt x="168" y="110"/>
                    <a:pt x="174" y="111"/>
                    <a:pt x="180" y="113"/>
                  </a:cubicBezTo>
                  <a:cubicBezTo>
                    <a:pt x="191" y="116"/>
                    <a:pt x="191" y="116"/>
                    <a:pt x="191" y="116"/>
                  </a:cubicBezTo>
                  <a:cubicBezTo>
                    <a:pt x="195" y="106"/>
                    <a:pt x="195" y="106"/>
                    <a:pt x="195" y="106"/>
                  </a:cubicBezTo>
                  <a:cubicBezTo>
                    <a:pt x="214" y="56"/>
                    <a:pt x="262" y="24"/>
                    <a:pt x="315" y="24"/>
                  </a:cubicBezTo>
                  <a:cubicBezTo>
                    <a:pt x="372" y="24"/>
                    <a:pt x="421" y="60"/>
                    <a:pt x="438" y="115"/>
                  </a:cubicBezTo>
                  <a:cubicBezTo>
                    <a:pt x="441" y="124"/>
                    <a:pt x="441" y="124"/>
                    <a:pt x="441" y="124"/>
                  </a:cubicBezTo>
                  <a:cubicBezTo>
                    <a:pt x="451" y="123"/>
                    <a:pt x="451" y="123"/>
                    <a:pt x="451" y="123"/>
                  </a:cubicBezTo>
                  <a:cubicBezTo>
                    <a:pt x="452" y="123"/>
                    <a:pt x="453" y="123"/>
                    <a:pt x="455" y="123"/>
                  </a:cubicBezTo>
                  <a:cubicBezTo>
                    <a:pt x="457" y="123"/>
                    <a:pt x="459" y="124"/>
                    <a:pt x="461" y="124"/>
                  </a:cubicBezTo>
                  <a:cubicBezTo>
                    <a:pt x="525" y="124"/>
                    <a:pt x="578" y="177"/>
                    <a:pt x="578" y="243"/>
                  </a:cubicBezTo>
                  <a:cubicBezTo>
                    <a:pt x="578" y="264"/>
                    <a:pt x="572" y="287"/>
                    <a:pt x="563" y="3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BAA6C3B7-92BE-4E4E-B2DB-222A6D8ED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1992"/>
              <a:ext cx="911" cy="471"/>
            </a:xfrm>
            <a:custGeom>
              <a:avLst/>
              <a:gdLst>
                <a:gd name="T0" fmla="*/ 307 w 340"/>
                <a:gd name="T1" fmla="*/ 126 h 175"/>
                <a:gd name="T2" fmla="*/ 269 w 340"/>
                <a:gd name="T3" fmla="*/ 25 h 175"/>
                <a:gd name="T4" fmla="*/ 219 w 340"/>
                <a:gd name="T5" fmla="*/ 19 h 175"/>
                <a:gd name="T6" fmla="*/ 98 w 340"/>
                <a:gd name="T7" fmla="*/ 0 h 175"/>
                <a:gd name="T8" fmla="*/ 80 w 340"/>
                <a:gd name="T9" fmla="*/ 44 h 175"/>
                <a:gd name="T10" fmla="*/ 26 w 340"/>
                <a:gd name="T11" fmla="*/ 125 h 175"/>
                <a:gd name="T12" fmla="*/ 26 w 340"/>
                <a:gd name="T13" fmla="*/ 175 h 175"/>
                <a:gd name="T14" fmla="*/ 145 w 340"/>
                <a:gd name="T15" fmla="*/ 156 h 175"/>
                <a:gd name="T16" fmla="*/ 195 w 340"/>
                <a:gd name="T17" fmla="*/ 156 h 175"/>
                <a:gd name="T18" fmla="*/ 314 w 340"/>
                <a:gd name="T19" fmla="*/ 175 h 175"/>
                <a:gd name="T20" fmla="*/ 314 w 340"/>
                <a:gd name="T21" fmla="*/ 125 h 175"/>
                <a:gd name="T22" fmla="*/ 257 w 340"/>
                <a:gd name="T23" fmla="*/ 25 h 175"/>
                <a:gd name="T24" fmla="*/ 230 w 340"/>
                <a:gd name="T25" fmla="*/ 25 h 175"/>
                <a:gd name="T26" fmla="*/ 122 w 340"/>
                <a:gd name="T27" fmla="*/ 31 h 175"/>
                <a:gd name="T28" fmla="*/ 219 w 340"/>
                <a:gd name="T29" fmla="*/ 32 h 175"/>
                <a:gd name="T30" fmla="*/ 122 w 340"/>
                <a:gd name="T31" fmla="*/ 32 h 175"/>
                <a:gd name="T32" fmla="*/ 98 w 340"/>
                <a:gd name="T33" fmla="*/ 12 h 175"/>
                <a:gd name="T34" fmla="*/ 98 w 340"/>
                <a:gd name="T35" fmla="*/ 39 h 175"/>
                <a:gd name="T36" fmla="*/ 98 w 340"/>
                <a:gd name="T37" fmla="*/ 12 h 175"/>
                <a:gd name="T38" fmla="*/ 12 w 340"/>
                <a:gd name="T39" fmla="*/ 150 h 175"/>
                <a:gd name="T40" fmla="*/ 39 w 340"/>
                <a:gd name="T41" fmla="*/ 150 h 175"/>
                <a:gd name="T42" fmla="*/ 44 w 340"/>
                <a:gd name="T43" fmla="*/ 133 h 175"/>
                <a:gd name="T44" fmla="*/ 91 w 340"/>
                <a:gd name="T45" fmla="*/ 50 h 175"/>
                <a:gd name="T46" fmla="*/ 116 w 340"/>
                <a:gd name="T47" fmla="*/ 43 h 175"/>
                <a:gd name="T48" fmla="*/ 44 w 340"/>
                <a:gd name="T49" fmla="*/ 133 h 175"/>
                <a:gd name="T50" fmla="*/ 50 w 340"/>
                <a:gd name="T51" fmla="*/ 144 h 175"/>
                <a:gd name="T52" fmla="*/ 164 w 340"/>
                <a:gd name="T53" fmla="*/ 78 h 175"/>
                <a:gd name="T54" fmla="*/ 145 w 340"/>
                <a:gd name="T55" fmla="*/ 144 h 175"/>
                <a:gd name="T56" fmla="*/ 156 w 340"/>
                <a:gd name="T57" fmla="*/ 150 h 175"/>
                <a:gd name="T58" fmla="*/ 183 w 340"/>
                <a:gd name="T59" fmla="*/ 150 h 175"/>
                <a:gd name="T60" fmla="*/ 289 w 340"/>
                <a:gd name="T61" fmla="*/ 144 h 175"/>
                <a:gd name="T62" fmla="*/ 176 w 340"/>
                <a:gd name="T63" fmla="*/ 125 h 175"/>
                <a:gd name="T64" fmla="*/ 290 w 340"/>
                <a:gd name="T65" fmla="*/ 143 h 175"/>
                <a:gd name="T66" fmla="*/ 296 w 340"/>
                <a:gd name="T67" fmla="*/ 132 h 175"/>
                <a:gd name="T68" fmla="*/ 225 w 340"/>
                <a:gd name="T69" fmla="*/ 43 h 175"/>
                <a:gd name="T70" fmla="*/ 249 w 340"/>
                <a:gd name="T71" fmla="*/ 50 h 175"/>
                <a:gd name="T72" fmla="*/ 296 w 340"/>
                <a:gd name="T73" fmla="*/ 132 h 175"/>
                <a:gd name="T74" fmla="*/ 301 w 340"/>
                <a:gd name="T75" fmla="*/ 150 h 175"/>
                <a:gd name="T76" fmla="*/ 328 w 340"/>
                <a:gd name="T77" fmla="*/ 15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0" h="175">
                  <a:moveTo>
                    <a:pt x="314" y="125"/>
                  </a:moveTo>
                  <a:cubicBezTo>
                    <a:pt x="312" y="125"/>
                    <a:pt x="309" y="125"/>
                    <a:pt x="307" y="126"/>
                  </a:cubicBezTo>
                  <a:cubicBezTo>
                    <a:pt x="260" y="44"/>
                    <a:pt x="260" y="44"/>
                    <a:pt x="260" y="44"/>
                  </a:cubicBezTo>
                  <a:cubicBezTo>
                    <a:pt x="265" y="40"/>
                    <a:pt x="269" y="33"/>
                    <a:pt x="269" y="25"/>
                  </a:cubicBezTo>
                  <a:cubicBezTo>
                    <a:pt x="269" y="11"/>
                    <a:pt x="257" y="0"/>
                    <a:pt x="243" y="0"/>
                  </a:cubicBezTo>
                  <a:cubicBezTo>
                    <a:pt x="231" y="0"/>
                    <a:pt x="221" y="8"/>
                    <a:pt x="219" y="19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20" y="8"/>
                    <a:pt x="110" y="0"/>
                    <a:pt x="98" y="0"/>
                  </a:cubicBezTo>
                  <a:cubicBezTo>
                    <a:pt x="84" y="0"/>
                    <a:pt x="72" y="11"/>
                    <a:pt x="72" y="25"/>
                  </a:cubicBezTo>
                  <a:cubicBezTo>
                    <a:pt x="72" y="32"/>
                    <a:pt x="75" y="39"/>
                    <a:pt x="80" y="44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1" y="125"/>
                    <a:pt x="28" y="125"/>
                    <a:pt x="26" y="125"/>
                  </a:cubicBezTo>
                  <a:cubicBezTo>
                    <a:pt x="12" y="125"/>
                    <a:pt x="0" y="136"/>
                    <a:pt x="0" y="150"/>
                  </a:cubicBezTo>
                  <a:cubicBezTo>
                    <a:pt x="0" y="164"/>
                    <a:pt x="12" y="175"/>
                    <a:pt x="26" y="175"/>
                  </a:cubicBezTo>
                  <a:cubicBezTo>
                    <a:pt x="38" y="175"/>
                    <a:pt x="48" y="167"/>
                    <a:pt x="50" y="156"/>
                  </a:cubicBezTo>
                  <a:cubicBezTo>
                    <a:pt x="145" y="156"/>
                    <a:pt x="145" y="156"/>
                    <a:pt x="145" y="156"/>
                  </a:cubicBezTo>
                  <a:cubicBezTo>
                    <a:pt x="148" y="167"/>
                    <a:pt x="158" y="175"/>
                    <a:pt x="170" y="175"/>
                  </a:cubicBezTo>
                  <a:cubicBezTo>
                    <a:pt x="182" y="175"/>
                    <a:pt x="192" y="167"/>
                    <a:pt x="195" y="156"/>
                  </a:cubicBezTo>
                  <a:cubicBezTo>
                    <a:pt x="289" y="156"/>
                    <a:pt x="289" y="156"/>
                    <a:pt x="289" y="156"/>
                  </a:cubicBezTo>
                  <a:cubicBezTo>
                    <a:pt x="292" y="167"/>
                    <a:pt x="302" y="175"/>
                    <a:pt x="314" y="175"/>
                  </a:cubicBezTo>
                  <a:cubicBezTo>
                    <a:pt x="328" y="175"/>
                    <a:pt x="340" y="164"/>
                    <a:pt x="340" y="150"/>
                  </a:cubicBezTo>
                  <a:cubicBezTo>
                    <a:pt x="340" y="136"/>
                    <a:pt x="328" y="125"/>
                    <a:pt x="314" y="125"/>
                  </a:cubicBezTo>
                  <a:close/>
                  <a:moveTo>
                    <a:pt x="243" y="12"/>
                  </a:moveTo>
                  <a:cubicBezTo>
                    <a:pt x="251" y="12"/>
                    <a:pt x="257" y="18"/>
                    <a:pt x="257" y="25"/>
                  </a:cubicBezTo>
                  <a:cubicBezTo>
                    <a:pt x="257" y="33"/>
                    <a:pt x="251" y="39"/>
                    <a:pt x="243" y="39"/>
                  </a:cubicBezTo>
                  <a:cubicBezTo>
                    <a:pt x="236" y="39"/>
                    <a:pt x="230" y="33"/>
                    <a:pt x="230" y="25"/>
                  </a:cubicBezTo>
                  <a:cubicBezTo>
                    <a:pt x="230" y="18"/>
                    <a:pt x="236" y="12"/>
                    <a:pt x="243" y="12"/>
                  </a:cubicBezTo>
                  <a:close/>
                  <a:moveTo>
                    <a:pt x="122" y="31"/>
                  </a:moveTo>
                  <a:cubicBezTo>
                    <a:pt x="219" y="31"/>
                    <a:pt x="219" y="31"/>
                    <a:pt x="219" y="31"/>
                  </a:cubicBezTo>
                  <a:cubicBezTo>
                    <a:pt x="219" y="32"/>
                    <a:pt x="219" y="32"/>
                    <a:pt x="219" y="32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2" y="32"/>
                    <a:pt x="122" y="32"/>
                    <a:pt x="122" y="31"/>
                  </a:cubicBezTo>
                  <a:close/>
                  <a:moveTo>
                    <a:pt x="98" y="12"/>
                  </a:moveTo>
                  <a:cubicBezTo>
                    <a:pt x="105" y="12"/>
                    <a:pt x="111" y="18"/>
                    <a:pt x="111" y="25"/>
                  </a:cubicBezTo>
                  <a:cubicBezTo>
                    <a:pt x="111" y="33"/>
                    <a:pt x="105" y="39"/>
                    <a:pt x="98" y="39"/>
                  </a:cubicBezTo>
                  <a:cubicBezTo>
                    <a:pt x="90" y="39"/>
                    <a:pt x="84" y="33"/>
                    <a:pt x="84" y="25"/>
                  </a:cubicBezTo>
                  <a:cubicBezTo>
                    <a:pt x="84" y="18"/>
                    <a:pt x="90" y="12"/>
                    <a:pt x="98" y="12"/>
                  </a:cubicBezTo>
                  <a:close/>
                  <a:moveTo>
                    <a:pt x="26" y="163"/>
                  </a:moveTo>
                  <a:cubicBezTo>
                    <a:pt x="18" y="163"/>
                    <a:pt x="12" y="157"/>
                    <a:pt x="12" y="150"/>
                  </a:cubicBezTo>
                  <a:cubicBezTo>
                    <a:pt x="12" y="143"/>
                    <a:pt x="18" y="137"/>
                    <a:pt x="26" y="137"/>
                  </a:cubicBezTo>
                  <a:cubicBezTo>
                    <a:pt x="33" y="137"/>
                    <a:pt x="39" y="143"/>
                    <a:pt x="39" y="150"/>
                  </a:cubicBezTo>
                  <a:cubicBezTo>
                    <a:pt x="39" y="157"/>
                    <a:pt x="33" y="163"/>
                    <a:pt x="26" y="163"/>
                  </a:cubicBezTo>
                  <a:close/>
                  <a:moveTo>
                    <a:pt x="44" y="133"/>
                  </a:moveTo>
                  <a:cubicBezTo>
                    <a:pt x="44" y="132"/>
                    <a:pt x="44" y="132"/>
                    <a:pt x="43" y="132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3" y="50"/>
                    <a:pt x="95" y="51"/>
                    <a:pt x="98" y="51"/>
                  </a:cubicBezTo>
                  <a:cubicBezTo>
                    <a:pt x="105" y="51"/>
                    <a:pt x="112" y="48"/>
                    <a:pt x="116" y="43"/>
                  </a:cubicBezTo>
                  <a:cubicBezTo>
                    <a:pt x="158" y="67"/>
                    <a:pt x="158" y="67"/>
                    <a:pt x="158" y="67"/>
                  </a:cubicBezTo>
                  <a:lnTo>
                    <a:pt x="44" y="133"/>
                  </a:lnTo>
                  <a:close/>
                  <a:moveTo>
                    <a:pt x="145" y="144"/>
                  </a:moveTo>
                  <a:cubicBezTo>
                    <a:pt x="50" y="144"/>
                    <a:pt x="50" y="144"/>
                    <a:pt x="50" y="144"/>
                  </a:cubicBezTo>
                  <a:cubicBezTo>
                    <a:pt x="50" y="144"/>
                    <a:pt x="50" y="143"/>
                    <a:pt x="50" y="14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55" y="128"/>
                    <a:pt x="147" y="135"/>
                    <a:pt x="145" y="144"/>
                  </a:cubicBezTo>
                  <a:close/>
                  <a:moveTo>
                    <a:pt x="170" y="163"/>
                  </a:moveTo>
                  <a:cubicBezTo>
                    <a:pt x="163" y="163"/>
                    <a:pt x="156" y="157"/>
                    <a:pt x="156" y="150"/>
                  </a:cubicBezTo>
                  <a:cubicBezTo>
                    <a:pt x="156" y="143"/>
                    <a:pt x="163" y="137"/>
                    <a:pt x="170" y="137"/>
                  </a:cubicBezTo>
                  <a:cubicBezTo>
                    <a:pt x="177" y="137"/>
                    <a:pt x="183" y="143"/>
                    <a:pt x="183" y="150"/>
                  </a:cubicBezTo>
                  <a:cubicBezTo>
                    <a:pt x="183" y="157"/>
                    <a:pt x="177" y="163"/>
                    <a:pt x="170" y="163"/>
                  </a:cubicBezTo>
                  <a:close/>
                  <a:moveTo>
                    <a:pt x="289" y="144"/>
                  </a:moveTo>
                  <a:cubicBezTo>
                    <a:pt x="195" y="144"/>
                    <a:pt x="195" y="144"/>
                    <a:pt x="195" y="144"/>
                  </a:cubicBezTo>
                  <a:cubicBezTo>
                    <a:pt x="192" y="135"/>
                    <a:pt x="185" y="128"/>
                    <a:pt x="176" y="125"/>
                  </a:cubicBezTo>
                  <a:cubicBezTo>
                    <a:pt x="176" y="77"/>
                    <a:pt x="176" y="77"/>
                    <a:pt x="176" y="77"/>
                  </a:cubicBezTo>
                  <a:cubicBezTo>
                    <a:pt x="290" y="143"/>
                    <a:pt x="290" y="143"/>
                    <a:pt x="290" y="143"/>
                  </a:cubicBezTo>
                  <a:cubicBezTo>
                    <a:pt x="290" y="143"/>
                    <a:pt x="290" y="144"/>
                    <a:pt x="289" y="144"/>
                  </a:cubicBezTo>
                  <a:close/>
                  <a:moveTo>
                    <a:pt x="296" y="132"/>
                  </a:moveTo>
                  <a:cubicBezTo>
                    <a:pt x="182" y="67"/>
                    <a:pt x="182" y="67"/>
                    <a:pt x="182" y="67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29" y="47"/>
                    <a:pt x="236" y="51"/>
                    <a:pt x="243" y="51"/>
                  </a:cubicBezTo>
                  <a:cubicBezTo>
                    <a:pt x="245" y="51"/>
                    <a:pt x="247" y="50"/>
                    <a:pt x="249" y="50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6" y="132"/>
                    <a:pt x="296" y="132"/>
                    <a:pt x="296" y="132"/>
                  </a:cubicBezTo>
                  <a:close/>
                  <a:moveTo>
                    <a:pt x="314" y="163"/>
                  </a:moveTo>
                  <a:cubicBezTo>
                    <a:pt x="307" y="163"/>
                    <a:pt x="301" y="157"/>
                    <a:pt x="301" y="150"/>
                  </a:cubicBezTo>
                  <a:cubicBezTo>
                    <a:pt x="301" y="143"/>
                    <a:pt x="307" y="137"/>
                    <a:pt x="314" y="137"/>
                  </a:cubicBezTo>
                  <a:cubicBezTo>
                    <a:pt x="322" y="137"/>
                    <a:pt x="328" y="143"/>
                    <a:pt x="328" y="150"/>
                  </a:cubicBezTo>
                  <a:cubicBezTo>
                    <a:pt x="328" y="157"/>
                    <a:pt x="322" y="163"/>
                    <a:pt x="3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</p:grpSp>
      <p:grpSp>
        <p:nvGrpSpPr>
          <p:cNvPr id="13" name="Group 13">
            <a:extLst>
              <a:ext uri="{FF2B5EF4-FFF2-40B4-BE49-F238E27FC236}">
                <a16:creationId xmlns:a16="http://schemas.microsoft.com/office/drawing/2014/main" id="{D035ED8B-1B26-4FF5-A127-8091965D25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43547" y="5832085"/>
            <a:ext cx="674505" cy="369242"/>
            <a:chOff x="3032" y="1717"/>
            <a:chExt cx="1613" cy="883"/>
          </a:xfrm>
          <a:solidFill>
            <a:srgbClr val="37AFC8"/>
          </a:solidFill>
        </p:grpSpPr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86C2A559-2242-47D6-8D31-2881CEFD9E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2" y="1717"/>
              <a:ext cx="1613" cy="883"/>
            </a:xfrm>
            <a:custGeom>
              <a:avLst/>
              <a:gdLst>
                <a:gd name="T0" fmla="*/ 461 w 602"/>
                <a:gd name="T1" fmla="*/ 100 h 328"/>
                <a:gd name="T2" fmla="*/ 458 w 602"/>
                <a:gd name="T3" fmla="*/ 99 h 328"/>
                <a:gd name="T4" fmla="*/ 315 w 602"/>
                <a:gd name="T5" fmla="*/ 0 h 328"/>
                <a:gd name="T6" fmla="*/ 177 w 602"/>
                <a:gd name="T7" fmla="*/ 87 h 328"/>
                <a:gd name="T8" fmla="*/ 162 w 602"/>
                <a:gd name="T9" fmla="*/ 86 h 328"/>
                <a:gd name="T10" fmla="*/ 81 w 602"/>
                <a:gd name="T11" fmla="*/ 156 h 328"/>
                <a:gd name="T12" fmla="*/ 0 w 602"/>
                <a:gd name="T13" fmla="*/ 266 h 328"/>
                <a:gd name="T14" fmla="*/ 13 w 602"/>
                <a:gd name="T15" fmla="*/ 321 h 328"/>
                <a:gd name="T16" fmla="*/ 16 w 602"/>
                <a:gd name="T17" fmla="*/ 328 h 328"/>
                <a:gd name="T18" fmla="*/ 576 w 602"/>
                <a:gd name="T19" fmla="*/ 328 h 328"/>
                <a:gd name="T20" fmla="*/ 580 w 602"/>
                <a:gd name="T21" fmla="*/ 322 h 328"/>
                <a:gd name="T22" fmla="*/ 602 w 602"/>
                <a:gd name="T23" fmla="*/ 243 h 328"/>
                <a:gd name="T24" fmla="*/ 461 w 602"/>
                <a:gd name="T25" fmla="*/ 100 h 328"/>
                <a:gd name="T26" fmla="*/ 563 w 602"/>
                <a:gd name="T27" fmla="*/ 304 h 328"/>
                <a:gd name="T28" fmla="*/ 31 w 602"/>
                <a:gd name="T29" fmla="*/ 304 h 328"/>
                <a:gd name="T30" fmla="*/ 24 w 602"/>
                <a:gd name="T31" fmla="*/ 266 h 328"/>
                <a:gd name="T32" fmla="*/ 94 w 602"/>
                <a:gd name="T33" fmla="*/ 178 h 328"/>
                <a:gd name="T34" fmla="*/ 104 w 602"/>
                <a:gd name="T35" fmla="*/ 176 h 328"/>
                <a:gd name="T36" fmla="*/ 104 w 602"/>
                <a:gd name="T37" fmla="*/ 166 h 328"/>
                <a:gd name="T38" fmla="*/ 162 w 602"/>
                <a:gd name="T39" fmla="*/ 110 h 328"/>
                <a:gd name="T40" fmla="*/ 180 w 602"/>
                <a:gd name="T41" fmla="*/ 113 h 328"/>
                <a:gd name="T42" fmla="*/ 191 w 602"/>
                <a:gd name="T43" fmla="*/ 116 h 328"/>
                <a:gd name="T44" fmla="*/ 195 w 602"/>
                <a:gd name="T45" fmla="*/ 106 h 328"/>
                <a:gd name="T46" fmla="*/ 315 w 602"/>
                <a:gd name="T47" fmla="*/ 24 h 328"/>
                <a:gd name="T48" fmla="*/ 438 w 602"/>
                <a:gd name="T49" fmla="*/ 115 h 328"/>
                <a:gd name="T50" fmla="*/ 441 w 602"/>
                <a:gd name="T51" fmla="*/ 124 h 328"/>
                <a:gd name="T52" fmla="*/ 451 w 602"/>
                <a:gd name="T53" fmla="*/ 123 h 328"/>
                <a:gd name="T54" fmla="*/ 455 w 602"/>
                <a:gd name="T55" fmla="*/ 123 h 328"/>
                <a:gd name="T56" fmla="*/ 461 w 602"/>
                <a:gd name="T57" fmla="*/ 124 h 328"/>
                <a:gd name="T58" fmla="*/ 578 w 602"/>
                <a:gd name="T59" fmla="*/ 243 h 328"/>
                <a:gd name="T60" fmla="*/ 563 w 602"/>
                <a:gd name="T61" fmla="*/ 30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2" h="328">
                  <a:moveTo>
                    <a:pt x="461" y="100"/>
                  </a:moveTo>
                  <a:cubicBezTo>
                    <a:pt x="460" y="100"/>
                    <a:pt x="459" y="99"/>
                    <a:pt x="458" y="99"/>
                  </a:cubicBezTo>
                  <a:cubicBezTo>
                    <a:pt x="436" y="40"/>
                    <a:pt x="379" y="0"/>
                    <a:pt x="315" y="0"/>
                  </a:cubicBezTo>
                  <a:cubicBezTo>
                    <a:pt x="255" y="0"/>
                    <a:pt x="202" y="34"/>
                    <a:pt x="177" y="87"/>
                  </a:cubicBezTo>
                  <a:cubicBezTo>
                    <a:pt x="172" y="86"/>
                    <a:pt x="167" y="86"/>
                    <a:pt x="162" y="86"/>
                  </a:cubicBezTo>
                  <a:cubicBezTo>
                    <a:pt x="121" y="86"/>
                    <a:pt x="86" y="116"/>
                    <a:pt x="81" y="156"/>
                  </a:cubicBezTo>
                  <a:cubicBezTo>
                    <a:pt x="34" y="169"/>
                    <a:pt x="0" y="215"/>
                    <a:pt x="0" y="266"/>
                  </a:cubicBezTo>
                  <a:cubicBezTo>
                    <a:pt x="0" y="284"/>
                    <a:pt x="4" y="303"/>
                    <a:pt x="13" y="321"/>
                  </a:cubicBezTo>
                  <a:cubicBezTo>
                    <a:pt x="16" y="328"/>
                    <a:pt x="16" y="328"/>
                    <a:pt x="16" y="328"/>
                  </a:cubicBezTo>
                  <a:cubicBezTo>
                    <a:pt x="576" y="328"/>
                    <a:pt x="576" y="328"/>
                    <a:pt x="576" y="328"/>
                  </a:cubicBezTo>
                  <a:cubicBezTo>
                    <a:pt x="580" y="322"/>
                    <a:pt x="580" y="322"/>
                    <a:pt x="580" y="322"/>
                  </a:cubicBezTo>
                  <a:cubicBezTo>
                    <a:pt x="593" y="301"/>
                    <a:pt x="602" y="271"/>
                    <a:pt x="602" y="243"/>
                  </a:cubicBezTo>
                  <a:cubicBezTo>
                    <a:pt x="602" y="164"/>
                    <a:pt x="538" y="100"/>
                    <a:pt x="461" y="100"/>
                  </a:cubicBezTo>
                  <a:close/>
                  <a:moveTo>
                    <a:pt x="563" y="304"/>
                  </a:moveTo>
                  <a:cubicBezTo>
                    <a:pt x="31" y="304"/>
                    <a:pt x="31" y="304"/>
                    <a:pt x="31" y="304"/>
                  </a:cubicBezTo>
                  <a:cubicBezTo>
                    <a:pt x="27" y="291"/>
                    <a:pt x="24" y="278"/>
                    <a:pt x="24" y="266"/>
                  </a:cubicBezTo>
                  <a:cubicBezTo>
                    <a:pt x="24" y="224"/>
                    <a:pt x="55" y="185"/>
                    <a:pt x="94" y="178"/>
                  </a:cubicBezTo>
                  <a:cubicBezTo>
                    <a:pt x="104" y="176"/>
                    <a:pt x="104" y="176"/>
                    <a:pt x="104" y="176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35"/>
                    <a:pt x="131" y="110"/>
                    <a:pt x="162" y="110"/>
                  </a:cubicBezTo>
                  <a:cubicBezTo>
                    <a:pt x="168" y="110"/>
                    <a:pt x="174" y="111"/>
                    <a:pt x="180" y="113"/>
                  </a:cubicBezTo>
                  <a:cubicBezTo>
                    <a:pt x="191" y="116"/>
                    <a:pt x="191" y="116"/>
                    <a:pt x="191" y="116"/>
                  </a:cubicBezTo>
                  <a:cubicBezTo>
                    <a:pt x="195" y="106"/>
                    <a:pt x="195" y="106"/>
                    <a:pt x="195" y="106"/>
                  </a:cubicBezTo>
                  <a:cubicBezTo>
                    <a:pt x="214" y="56"/>
                    <a:pt x="262" y="24"/>
                    <a:pt x="315" y="24"/>
                  </a:cubicBezTo>
                  <a:cubicBezTo>
                    <a:pt x="372" y="24"/>
                    <a:pt x="421" y="60"/>
                    <a:pt x="438" y="115"/>
                  </a:cubicBezTo>
                  <a:cubicBezTo>
                    <a:pt x="441" y="124"/>
                    <a:pt x="441" y="124"/>
                    <a:pt x="441" y="124"/>
                  </a:cubicBezTo>
                  <a:cubicBezTo>
                    <a:pt x="451" y="123"/>
                    <a:pt x="451" y="123"/>
                    <a:pt x="451" y="123"/>
                  </a:cubicBezTo>
                  <a:cubicBezTo>
                    <a:pt x="452" y="123"/>
                    <a:pt x="453" y="123"/>
                    <a:pt x="455" y="123"/>
                  </a:cubicBezTo>
                  <a:cubicBezTo>
                    <a:pt x="457" y="123"/>
                    <a:pt x="459" y="124"/>
                    <a:pt x="461" y="124"/>
                  </a:cubicBezTo>
                  <a:cubicBezTo>
                    <a:pt x="525" y="124"/>
                    <a:pt x="578" y="177"/>
                    <a:pt x="578" y="243"/>
                  </a:cubicBezTo>
                  <a:cubicBezTo>
                    <a:pt x="578" y="264"/>
                    <a:pt x="572" y="287"/>
                    <a:pt x="563" y="3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39CD37CA-E802-48DE-A96C-61FEC61CE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1992"/>
              <a:ext cx="911" cy="471"/>
            </a:xfrm>
            <a:custGeom>
              <a:avLst/>
              <a:gdLst>
                <a:gd name="T0" fmla="*/ 307 w 340"/>
                <a:gd name="T1" fmla="*/ 126 h 175"/>
                <a:gd name="T2" fmla="*/ 269 w 340"/>
                <a:gd name="T3" fmla="*/ 25 h 175"/>
                <a:gd name="T4" fmla="*/ 219 w 340"/>
                <a:gd name="T5" fmla="*/ 19 h 175"/>
                <a:gd name="T6" fmla="*/ 98 w 340"/>
                <a:gd name="T7" fmla="*/ 0 h 175"/>
                <a:gd name="T8" fmla="*/ 80 w 340"/>
                <a:gd name="T9" fmla="*/ 44 h 175"/>
                <a:gd name="T10" fmla="*/ 26 w 340"/>
                <a:gd name="T11" fmla="*/ 125 h 175"/>
                <a:gd name="T12" fmla="*/ 26 w 340"/>
                <a:gd name="T13" fmla="*/ 175 h 175"/>
                <a:gd name="T14" fmla="*/ 145 w 340"/>
                <a:gd name="T15" fmla="*/ 156 h 175"/>
                <a:gd name="T16" fmla="*/ 195 w 340"/>
                <a:gd name="T17" fmla="*/ 156 h 175"/>
                <a:gd name="T18" fmla="*/ 314 w 340"/>
                <a:gd name="T19" fmla="*/ 175 h 175"/>
                <a:gd name="T20" fmla="*/ 314 w 340"/>
                <a:gd name="T21" fmla="*/ 125 h 175"/>
                <a:gd name="T22" fmla="*/ 257 w 340"/>
                <a:gd name="T23" fmla="*/ 25 h 175"/>
                <a:gd name="T24" fmla="*/ 230 w 340"/>
                <a:gd name="T25" fmla="*/ 25 h 175"/>
                <a:gd name="T26" fmla="*/ 122 w 340"/>
                <a:gd name="T27" fmla="*/ 31 h 175"/>
                <a:gd name="T28" fmla="*/ 219 w 340"/>
                <a:gd name="T29" fmla="*/ 32 h 175"/>
                <a:gd name="T30" fmla="*/ 122 w 340"/>
                <a:gd name="T31" fmla="*/ 32 h 175"/>
                <a:gd name="T32" fmla="*/ 98 w 340"/>
                <a:gd name="T33" fmla="*/ 12 h 175"/>
                <a:gd name="T34" fmla="*/ 98 w 340"/>
                <a:gd name="T35" fmla="*/ 39 h 175"/>
                <a:gd name="T36" fmla="*/ 98 w 340"/>
                <a:gd name="T37" fmla="*/ 12 h 175"/>
                <a:gd name="T38" fmla="*/ 12 w 340"/>
                <a:gd name="T39" fmla="*/ 150 h 175"/>
                <a:gd name="T40" fmla="*/ 39 w 340"/>
                <a:gd name="T41" fmla="*/ 150 h 175"/>
                <a:gd name="T42" fmla="*/ 44 w 340"/>
                <a:gd name="T43" fmla="*/ 133 h 175"/>
                <a:gd name="T44" fmla="*/ 91 w 340"/>
                <a:gd name="T45" fmla="*/ 50 h 175"/>
                <a:gd name="T46" fmla="*/ 116 w 340"/>
                <a:gd name="T47" fmla="*/ 43 h 175"/>
                <a:gd name="T48" fmla="*/ 44 w 340"/>
                <a:gd name="T49" fmla="*/ 133 h 175"/>
                <a:gd name="T50" fmla="*/ 50 w 340"/>
                <a:gd name="T51" fmla="*/ 144 h 175"/>
                <a:gd name="T52" fmla="*/ 164 w 340"/>
                <a:gd name="T53" fmla="*/ 78 h 175"/>
                <a:gd name="T54" fmla="*/ 145 w 340"/>
                <a:gd name="T55" fmla="*/ 144 h 175"/>
                <a:gd name="T56" fmla="*/ 156 w 340"/>
                <a:gd name="T57" fmla="*/ 150 h 175"/>
                <a:gd name="T58" fmla="*/ 183 w 340"/>
                <a:gd name="T59" fmla="*/ 150 h 175"/>
                <a:gd name="T60" fmla="*/ 289 w 340"/>
                <a:gd name="T61" fmla="*/ 144 h 175"/>
                <a:gd name="T62" fmla="*/ 176 w 340"/>
                <a:gd name="T63" fmla="*/ 125 h 175"/>
                <a:gd name="T64" fmla="*/ 290 w 340"/>
                <a:gd name="T65" fmla="*/ 143 h 175"/>
                <a:gd name="T66" fmla="*/ 296 w 340"/>
                <a:gd name="T67" fmla="*/ 132 h 175"/>
                <a:gd name="T68" fmla="*/ 225 w 340"/>
                <a:gd name="T69" fmla="*/ 43 h 175"/>
                <a:gd name="T70" fmla="*/ 249 w 340"/>
                <a:gd name="T71" fmla="*/ 50 h 175"/>
                <a:gd name="T72" fmla="*/ 296 w 340"/>
                <a:gd name="T73" fmla="*/ 132 h 175"/>
                <a:gd name="T74" fmla="*/ 301 w 340"/>
                <a:gd name="T75" fmla="*/ 150 h 175"/>
                <a:gd name="T76" fmla="*/ 328 w 340"/>
                <a:gd name="T77" fmla="*/ 15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0" h="175">
                  <a:moveTo>
                    <a:pt x="314" y="125"/>
                  </a:moveTo>
                  <a:cubicBezTo>
                    <a:pt x="312" y="125"/>
                    <a:pt x="309" y="125"/>
                    <a:pt x="307" y="126"/>
                  </a:cubicBezTo>
                  <a:cubicBezTo>
                    <a:pt x="260" y="44"/>
                    <a:pt x="260" y="44"/>
                    <a:pt x="260" y="44"/>
                  </a:cubicBezTo>
                  <a:cubicBezTo>
                    <a:pt x="265" y="40"/>
                    <a:pt x="269" y="33"/>
                    <a:pt x="269" y="25"/>
                  </a:cubicBezTo>
                  <a:cubicBezTo>
                    <a:pt x="269" y="11"/>
                    <a:pt x="257" y="0"/>
                    <a:pt x="243" y="0"/>
                  </a:cubicBezTo>
                  <a:cubicBezTo>
                    <a:pt x="231" y="0"/>
                    <a:pt x="221" y="8"/>
                    <a:pt x="219" y="19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20" y="8"/>
                    <a:pt x="110" y="0"/>
                    <a:pt x="98" y="0"/>
                  </a:cubicBezTo>
                  <a:cubicBezTo>
                    <a:pt x="84" y="0"/>
                    <a:pt x="72" y="11"/>
                    <a:pt x="72" y="25"/>
                  </a:cubicBezTo>
                  <a:cubicBezTo>
                    <a:pt x="72" y="32"/>
                    <a:pt x="75" y="39"/>
                    <a:pt x="80" y="44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1" y="125"/>
                    <a:pt x="28" y="125"/>
                    <a:pt x="26" y="125"/>
                  </a:cubicBezTo>
                  <a:cubicBezTo>
                    <a:pt x="12" y="125"/>
                    <a:pt x="0" y="136"/>
                    <a:pt x="0" y="150"/>
                  </a:cubicBezTo>
                  <a:cubicBezTo>
                    <a:pt x="0" y="164"/>
                    <a:pt x="12" y="175"/>
                    <a:pt x="26" y="175"/>
                  </a:cubicBezTo>
                  <a:cubicBezTo>
                    <a:pt x="38" y="175"/>
                    <a:pt x="48" y="167"/>
                    <a:pt x="50" y="156"/>
                  </a:cubicBezTo>
                  <a:cubicBezTo>
                    <a:pt x="145" y="156"/>
                    <a:pt x="145" y="156"/>
                    <a:pt x="145" y="156"/>
                  </a:cubicBezTo>
                  <a:cubicBezTo>
                    <a:pt x="148" y="167"/>
                    <a:pt x="158" y="175"/>
                    <a:pt x="170" y="175"/>
                  </a:cubicBezTo>
                  <a:cubicBezTo>
                    <a:pt x="182" y="175"/>
                    <a:pt x="192" y="167"/>
                    <a:pt x="195" y="156"/>
                  </a:cubicBezTo>
                  <a:cubicBezTo>
                    <a:pt x="289" y="156"/>
                    <a:pt x="289" y="156"/>
                    <a:pt x="289" y="156"/>
                  </a:cubicBezTo>
                  <a:cubicBezTo>
                    <a:pt x="292" y="167"/>
                    <a:pt x="302" y="175"/>
                    <a:pt x="314" y="175"/>
                  </a:cubicBezTo>
                  <a:cubicBezTo>
                    <a:pt x="328" y="175"/>
                    <a:pt x="340" y="164"/>
                    <a:pt x="340" y="150"/>
                  </a:cubicBezTo>
                  <a:cubicBezTo>
                    <a:pt x="340" y="136"/>
                    <a:pt x="328" y="125"/>
                    <a:pt x="314" y="125"/>
                  </a:cubicBezTo>
                  <a:close/>
                  <a:moveTo>
                    <a:pt x="243" y="12"/>
                  </a:moveTo>
                  <a:cubicBezTo>
                    <a:pt x="251" y="12"/>
                    <a:pt x="257" y="18"/>
                    <a:pt x="257" y="25"/>
                  </a:cubicBezTo>
                  <a:cubicBezTo>
                    <a:pt x="257" y="33"/>
                    <a:pt x="251" y="39"/>
                    <a:pt x="243" y="39"/>
                  </a:cubicBezTo>
                  <a:cubicBezTo>
                    <a:pt x="236" y="39"/>
                    <a:pt x="230" y="33"/>
                    <a:pt x="230" y="25"/>
                  </a:cubicBezTo>
                  <a:cubicBezTo>
                    <a:pt x="230" y="18"/>
                    <a:pt x="236" y="12"/>
                    <a:pt x="243" y="12"/>
                  </a:cubicBezTo>
                  <a:close/>
                  <a:moveTo>
                    <a:pt x="122" y="31"/>
                  </a:moveTo>
                  <a:cubicBezTo>
                    <a:pt x="219" y="31"/>
                    <a:pt x="219" y="31"/>
                    <a:pt x="219" y="31"/>
                  </a:cubicBezTo>
                  <a:cubicBezTo>
                    <a:pt x="219" y="32"/>
                    <a:pt x="219" y="32"/>
                    <a:pt x="219" y="32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2" y="32"/>
                    <a:pt x="122" y="32"/>
                    <a:pt x="122" y="31"/>
                  </a:cubicBezTo>
                  <a:close/>
                  <a:moveTo>
                    <a:pt x="98" y="12"/>
                  </a:moveTo>
                  <a:cubicBezTo>
                    <a:pt x="105" y="12"/>
                    <a:pt x="111" y="18"/>
                    <a:pt x="111" y="25"/>
                  </a:cubicBezTo>
                  <a:cubicBezTo>
                    <a:pt x="111" y="33"/>
                    <a:pt x="105" y="39"/>
                    <a:pt x="98" y="39"/>
                  </a:cubicBezTo>
                  <a:cubicBezTo>
                    <a:pt x="90" y="39"/>
                    <a:pt x="84" y="33"/>
                    <a:pt x="84" y="25"/>
                  </a:cubicBezTo>
                  <a:cubicBezTo>
                    <a:pt x="84" y="18"/>
                    <a:pt x="90" y="12"/>
                    <a:pt x="98" y="12"/>
                  </a:cubicBezTo>
                  <a:close/>
                  <a:moveTo>
                    <a:pt x="26" y="163"/>
                  </a:moveTo>
                  <a:cubicBezTo>
                    <a:pt x="18" y="163"/>
                    <a:pt x="12" y="157"/>
                    <a:pt x="12" y="150"/>
                  </a:cubicBezTo>
                  <a:cubicBezTo>
                    <a:pt x="12" y="143"/>
                    <a:pt x="18" y="137"/>
                    <a:pt x="26" y="137"/>
                  </a:cubicBezTo>
                  <a:cubicBezTo>
                    <a:pt x="33" y="137"/>
                    <a:pt x="39" y="143"/>
                    <a:pt x="39" y="150"/>
                  </a:cubicBezTo>
                  <a:cubicBezTo>
                    <a:pt x="39" y="157"/>
                    <a:pt x="33" y="163"/>
                    <a:pt x="26" y="163"/>
                  </a:cubicBezTo>
                  <a:close/>
                  <a:moveTo>
                    <a:pt x="44" y="133"/>
                  </a:moveTo>
                  <a:cubicBezTo>
                    <a:pt x="44" y="132"/>
                    <a:pt x="44" y="132"/>
                    <a:pt x="43" y="132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3" y="50"/>
                    <a:pt x="95" y="51"/>
                    <a:pt x="98" y="51"/>
                  </a:cubicBezTo>
                  <a:cubicBezTo>
                    <a:pt x="105" y="51"/>
                    <a:pt x="112" y="48"/>
                    <a:pt x="116" y="43"/>
                  </a:cubicBezTo>
                  <a:cubicBezTo>
                    <a:pt x="158" y="67"/>
                    <a:pt x="158" y="67"/>
                    <a:pt x="158" y="67"/>
                  </a:cubicBezTo>
                  <a:lnTo>
                    <a:pt x="44" y="133"/>
                  </a:lnTo>
                  <a:close/>
                  <a:moveTo>
                    <a:pt x="145" y="144"/>
                  </a:moveTo>
                  <a:cubicBezTo>
                    <a:pt x="50" y="144"/>
                    <a:pt x="50" y="144"/>
                    <a:pt x="50" y="144"/>
                  </a:cubicBezTo>
                  <a:cubicBezTo>
                    <a:pt x="50" y="144"/>
                    <a:pt x="50" y="143"/>
                    <a:pt x="50" y="14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55" y="128"/>
                    <a:pt x="147" y="135"/>
                    <a:pt x="145" y="144"/>
                  </a:cubicBezTo>
                  <a:close/>
                  <a:moveTo>
                    <a:pt x="170" y="163"/>
                  </a:moveTo>
                  <a:cubicBezTo>
                    <a:pt x="163" y="163"/>
                    <a:pt x="156" y="157"/>
                    <a:pt x="156" y="150"/>
                  </a:cubicBezTo>
                  <a:cubicBezTo>
                    <a:pt x="156" y="143"/>
                    <a:pt x="163" y="137"/>
                    <a:pt x="170" y="137"/>
                  </a:cubicBezTo>
                  <a:cubicBezTo>
                    <a:pt x="177" y="137"/>
                    <a:pt x="183" y="143"/>
                    <a:pt x="183" y="150"/>
                  </a:cubicBezTo>
                  <a:cubicBezTo>
                    <a:pt x="183" y="157"/>
                    <a:pt x="177" y="163"/>
                    <a:pt x="170" y="163"/>
                  </a:cubicBezTo>
                  <a:close/>
                  <a:moveTo>
                    <a:pt x="289" y="144"/>
                  </a:moveTo>
                  <a:cubicBezTo>
                    <a:pt x="195" y="144"/>
                    <a:pt x="195" y="144"/>
                    <a:pt x="195" y="144"/>
                  </a:cubicBezTo>
                  <a:cubicBezTo>
                    <a:pt x="192" y="135"/>
                    <a:pt x="185" y="128"/>
                    <a:pt x="176" y="125"/>
                  </a:cubicBezTo>
                  <a:cubicBezTo>
                    <a:pt x="176" y="77"/>
                    <a:pt x="176" y="77"/>
                    <a:pt x="176" y="77"/>
                  </a:cubicBezTo>
                  <a:cubicBezTo>
                    <a:pt x="290" y="143"/>
                    <a:pt x="290" y="143"/>
                    <a:pt x="290" y="143"/>
                  </a:cubicBezTo>
                  <a:cubicBezTo>
                    <a:pt x="290" y="143"/>
                    <a:pt x="290" y="144"/>
                    <a:pt x="289" y="144"/>
                  </a:cubicBezTo>
                  <a:close/>
                  <a:moveTo>
                    <a:pt x="296" y="132"/>
                  </a:moveTo>
                  <a:cubicBezTo>
                    <a:pt x="182" y="67"/>
                    <a:pt x="182" y="67"/>
                    <a:pt x="182" y="67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29" y="47"/>
                    <a:pt x="236" y="51"/>
                    <a:pt x="243" y="51"/>
                  </a:cubicBezTo>
                  <a:cubicBezTo>
                    <a:pt x="245" y="51"/>
                    <a:pt x="247" y="50"/>
                    <a:pt x="249" y="50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6" y="132"/>
                    <a:pt x="296" y="132"/>
                    <a:pt x="296" y="132"/>
                  </a:cubicBezTo>
                  <a:close/>
                  <a:moveTo>
                    <a:pt x="314" y="163"/>
                  </a:moveTo>
                  <a:cubicBezTo>
                    <a:pt x="307" y="163"/>
                    <a:pt x="301" y="157"/>
                    <a:pt x="301" y="150"/>
                  </a:cubicBezTo>
                  <a:cubicBezTo>
                    <a:pt x="301" y="143"/>
                    <a:pt x="307" y="137"/>
                    <a:pt x="314" y="137"/>
                  </a:cubicBezTo>
                  <a:cubicBezTo>
                    <a:pt x="322" y="137"/>
                    <a:pt x="328" y="143"/>
                    <a:pt x="328" y="150"/>
                  </a:cubicBezTo>
                  <a:cubicBezTo>
                    <a:pt x="328" y="157"/>
                    <a:pt x="322" y="163"/>
                    <a:pt x="3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</p:grpSp>
      <p:grpSp>
        <p:nvGrpSpPr>
          <p:cNvPr id="16" name="Group 13">
            <a:extLst>
              <a:ext uri="{FF2B5EF4-FFF2-40B4-BE49-F238E27FC236}">
                <a16:creationId xmlns:a16="http://schemas.microsoft.com/office/drawing/2014/main" id="{1506C22D-370B-466F-9F1C-A58175F220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36361" y="5825195"/>
            <a:ext cx="674505" cy="369242"/>
            <a:chOff x="3032" y="1717"/>
            <a:chExt cx="1613" cy="883"/>
          </a:xfrm>
          <a:solidFill>
            <a:srgbClr val="37AFC8"/>
          </a:solidFill>
        </p:grpSpPr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1ED8FB7D-057A-48A4-A231-230E2FFEC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2" y="1717"/>
              <a:ext cx="1613" cy="883"/>
            </a:xfrm>
            <a:custGeom>
              <a:avLst/>
              <a:gdLst>
                <a:gd name="T0" fmla="*/ 461 w 602"/>
                <a:gd name="T1" fmla="*/ 100 h 328"/>
                <a:gd name="T2" fmla="*/ 458 w 602"/>
                <a:gd name="T3" fmla="*/ 99 h 328"/>
                <a:gd name="T4" fmla="*/ 315 w 602"/>
                <a:gd name="T5" fmla="*/ 0 h 328"/>
                <a:gd name="T6" fmla="*/ 177 w 602"/>
                <a:gd name="T7" fmla="*/ 87 h 328"/>
                <a:gd name="T8" fmla="*/ 162 w 602"/>
                <a:gd name="T9" fmla="*/ 86 h 328"/>
                <a:gd name="T10" fmla="*/ 81 w 602"/>
                <a:gd name="T11" fmla="*/ 156 h 328"/>
                <a:gd name="T12" fmla="*/ 0 w 602"/>
                <a:gd name="T13" fmla="*/ 266 h 328"/>
                <a:gd name="T14" fmla="*/ 13 w 602"/>
                <a:gd name="T15" fmla="*/ 321 h 328"/>
                <a:gd name="T16" fmla="*/ 16 w 602"/>
                <a:gd name="T17" fmla="*/ 328 h 328"/>
                <a:gd name="T18" fmla="*/ 576 w 602"/>
                <a:gd name="T19" fmla="*/ 328 h 328"/>
                <a:gd name="T20" fmla="*/ 580 w 602"/>
                <a:gd name="T21" fmla="*/ 322 h 328"/>
                <a:gd name="T22" fmla="*/ 602 w 602"/>
                <a:gd name="T23" fmla="*/ 243 h 328"/>
                <a:gd name="T24" fmla="*/ 461 w 602"/>
                <a:gd name="T25" fmla="*/ 100 h 328"/>
                <a:gd name="T26" fmla="*/ 563 w 602"/>
                <a:gd name="T27" fmla="*/ 304 h 328"/>
                <a:gd name="T28" fmla="*/ 31 w 602"/>
                <a:gd name="T29" fmla="*/ 304 h 328"/>
                <a:gd name="T30" fmla="*/ 24 w 602"/>
                <a:gd name="T31" fmla="*/ 266 h 328"/>
                <a:gd name="T32" fmla="*/ 94 w 602"/>
                <a:gd name="T33" fmla="*/ 178 h 328"/>
                <a:gd name="T34" fmla="*/ 104 w 602"/>
                <a:gd name="T35" fmla="*/ 176 h 328"/>
                <a:gd name="T36" fmla="*/ 104 w 602"/>
                <a:gd name="T37" fmla="*/ 166 h 328"/>
                <a:gd name="T38" fmla="*/ 162 w 602"/>
                <a:gd name="T39" fmla="*/ 110 h 328"/>
                <a:gd name="T40" fmla="*/ 180 w 602"/>
                <a:gd name="T41" fmla="*/ 113 h 328"/>
                <a:gd name="T42" fmla="*/ 191 w 602"/>
                <a:gd name="T43" fmla="*/ 116 h 328"/>
                <a:gd name="T44" fmla="*/ 195 w 602"/>
                <a:gd name="T45" fmla="*/ 106 h 328"/>
                <a:gd name="T46" fmla="*/ 315 w 602"/>
                <a:gd name="T47" fmla="*/ 24 h 328"/>
                <a:gd name="T48" fmla="*/ 438 w 602"/>
                <a:gd name="T49" fmla="*/ 115 h 328"/>
                <a:gd name="T50" fmla="*/ 441 w 602"/>
                <a:gd name="T51" fmla="*/ 124 h 328"/>
                <a:gd name="T52" fmla="*/ 451 w 602"/>
                <a:gd name="T53" fmla="*/ 123 h 328"/>
                <a:gd name="T54" fmla="*/ 455 w 602"/>
                <a:gd name="T55" fmla="*/ 123 h 328"/>
                <a:gd name="T56" fmla="*/ 461 w 602"/>
                <a:gd name="T57" fmla="*/ 124 h 328"/>
                <a:gd name="T58" fmla="*/ 578 w 602"/>
                <a:gd name="T59" fmla="*/ 243 h 328"/>
                <a:gd name="T60" fmla="*/ 563 w 602"/>
                <a:gd name="T61" fmla="*/ 30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2" h="328">
                  <a:moveTo>
                    <a:pt x="461" y="100"/>
                  </a:moveTo>
                  <a:cubicBezTo>
                    <a:pt x="460" y="100"/>
                    <a:pt x="459" y="99"/>
                    <a:pt x="458" y="99"/>
                  </a:cubicBezTo>
                  <a:cubicBezTo>
                    <a:pt x="436" y="40"/>
                    <a:pt x="379" y="0"/>
                    <a:pt x="315" y="0"/>
                  </a:cubicBezTo>
                  <a:cubicBezTo>
                    <a:pt x="255" y="0"/>
                    <a:pt x="202" y="34"/>
                    <a:pt x="177" y="87"/>
                  </a:cubicBezTo>
                  <a:cubicBezTo>
                    <a:pt x="172" y="86"/>
                    <a:pt x="167" y="86"/>
                    <a:pt x="162" y="86"/>
                  </a:cubicBezTo>
                  <a:cubicBezTo>
                    <a:pt x="121" y="86"/>
                    <a:pt x="86" y="116"/>
                    <a:pt x="81" y="156"/>
                  </a:cubicBezTo>
                  <a:cubicBezTo>
                    <a:pt x="34" y="169"/>
                    <a:pt x="0" y="215"/>
                    <a:pt x="0" y="266"/>
                  </a:cubicBezTo>
                  <a:cubicBezTo>
                    <a:pt x="0" y="284"/>
                    <a:pt x="4" y="303"/>
                    <a:pt x="13" y="321"/>
                  </a:cubicBezTo>
                  <a:cubicBezTo>
                    <a:pt x="16" y="328"/>
                    <a:pt x="16" y="328"/>
                    <a:pt x="16" y="328"/>
                  </a:cubicBezTo>
                  <a:cubicBezTo>
                    <a:pt x="576" y="328"/>
                    <a:pt x="576" y="328"/>
                    <a:pt x="576" y="328"/>
                  </a:cubicBezTo>
                  <a:cubicBezTo>
                    <a:pt x="580" y="322"/>
                    <a:pt x="580" y="322"/>
                    <a:pt x="580" y="322"/>
                  </a:cubicBezTo>
                  <a:cubicBezTo>
                    <a:pt x="593" y="301"/>
                    <a:pt x="602" y="271"/>
                    <a:pt x="602" y="243"/>
                  </a:cubicBezTo>
                  <a:cubicBezTo>
                    <a:pt x="602" y="164"/>
                    <a:pt x="538" y="100"/>
                    <a:pt x="461" y="100"/>
                  </a:cubicBezTo>
                  <a:close/>
                  <a:moveTo>
                    <a:pt x="563" y="304"/>
                  </a:moveTo>
                  <a:cubicBezTo>
                    <a:pt x="31" y="304"/>
                    <a:pt x="31" y="304"/>
                    <a:pt x="31" y="304"/>
                  </a:cubicBezTo>
                  <a:cubicBezTo>
                    <a:pt x="27" y="291"/>
                    <a:pt x="24" y="278"/>
                    <a:pt x="24" y="266"/>
                  </a:cubicBezTo>
                  <a:cubicBezTo>
                    <a:pt x="24" y="224"/>
                    <a:pt x="55" y="185"/>
                    <a:pt x="94" y="178"/>
                  </a:cubicBezTo>
                  <a:cubicBezTo>
                    <a:pt x="104" y="176"/>
                    <a:pt x="104" y="176"/>
                    <a:pt x="104" y="176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35"/>
                    <a:pt x="131" y="110"/>
                    <a:pt x="162" y="110"/>
                  </a:cubicBezTo>
                  <a:cubicBezTo>
                    <a:pt x="168" y="110"/>
                    <a:pt x="174" y="111"/>
                    <a:pt x="180" y="113"/>
                  </a:cubicBezTo>
                  <a:cubicBezTo>
                    <a:pt x="191" y="116"/>
                    <a:pt x="191" y="116"/>
                    <a:pt x="191" y="116"/>
                  </a:cubicBezTo>
                  <a:cubicBezTo>
                    <a:pt x="195" y="106"/>
                    <a:pt x="195" y="106"/>
                    <a:pt x="195" y="106"/>
                  </a:cubicBezTo>
                  <a:cubicBezTo>
                    <a:pt x="214" y="56"/>
                    <a:pt x="262" y="24"/>
                    <a:pt x="315" y="24"/>
                  </a:cubicBezTo>
                  <a:cubicBezTo>
                    <a:pt x="372" y="24"/>
                    <a:pt x="421" y="60"/>
                    <a:pt x="438" y="115"/>
                  </a:cubicBezTo>
                  <a:cubicBezTo>
                    <a:pt x="441" y="124"/>
                    <a:pt x="441" y="124"/>
                    <a:pt x="441" y="124"/>
                  </a:cubicBezTo>
                  <a:cubicBezTo>
                    <a:pt x="451" y="123"/>
                    <a:pt x="451" y="123"/>
                    <a:pt x="451" y="123"/>
                  </a:cubicBezTo>
                  <a:cubicBezTo>
                    <a:pt x="452" y="123"/>
                    <a:pt x="453" y="123"/>
                    <a:pt x="455" y="123"/>
                  </a:cubicBezTo>
                  <a:cubicBezTo>
                    <a:pt x="457" y="123"/>
                    <a:pt x="459" y="124"/>
                    <a:pt x="461" y="124"/>
                  </a:cubicBezTo>
                  <a:cubicBezTo>
                    <a:pt x="525" y="124"/>
                    <a:pt x="578" y="177"/>
                    <a:pt x="578" y="243"/>
                  </a:cubicBezTo>
                  <a:cubicBezTo>
                    <a:pt x="578" y="264"/>
                    <a:pt x="572" y="287"/>
                    <a:pt x="563" y="3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20BABD98-D624-4D55-B166-8C37F46932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1992"/>
              <a:ext cx="911" cy="471"/>
            </a:xfrm>
            <a:custGeom>
              <a:avLst/>
              <a:gdLst>
                <a:gd name="T0" fmla="*/ 307 w 340"/>
                <a:gd name="T1" fmla="*/ 126 h 175"/>
                <a:gd name="T2" fmla="*/ 269 w 340"/>
                <a:gd name="T3" fmla="*/ 25 h 175"/>
                <a:gd name="T4" fmla="*/ 219 w 340"/>
                <a:gd name="T5" fmla="*/ 19 h 175"/>
                <a:gd name="T6" fmla="*/ 98 w 340"/>
                <a:gd name="T7" fmla="*/ 0 h 175"/>
                <a:gd name="T8" fmla="*/ 80 w 340"/>
                <a:gd name="T9" fmla="*/ 44 h 175"/>
                <a:gd name="T10" fmla="*/ 26 w 340"/>
                <a:gd name="T11" fmla="*/ 125 h 175"/>
                <a:gd name="T12" fmla="*/ 26 w 340"/>
                <a:gd name="T13" fmla="*/ 175 h 175"/>
                <a:gd name="T14" fmla="*/ 145 w 340"/>
                <a:gd name="T15" fmla="*/ 156 h 175"/>
                <a:gd name="T16" fmla="*/ 195 w 340"/>
                <a:gd name="T17" fmla="*/ 156 h 175"/>
                <a:gd name="T18" fmla="*/ 314 w 340"/>
                <a:gd name="T19" fmla="*/ 175 h 175"/>
                <a:gd name="T20" fmla="*/ 314 w 340"/>
                <a:gd name="T21" fmla="*/ 125 h 175"/>
                <a:gd name="T22" fmla="*/ 257 w 340"/>
                <a:gd name="T23" fmla="*/ 25 h 175"/>
                <a:gd name="T24" fmla="*/ 230 w 340"/>
                <a:gd name="T25" fmla="*/ 25 h 175"/>
                <a:gd name="T26" fmla="*/ 122 w 340"/>
                <a:gd name="T27" fmla="*/ 31 h 175"/>
                <a:gd name="T28" fmla="*/ 219 w 340"/>
                <a:gd name="T29" fmla="*/ 32 h 175"/>
                <a:gd name="T30" fmla="*/ 122 w 340"/>
                <a:gd name="T31" fmla="*/ 32 h 175"/>
                <a:gd name="T32" fmla="*/ 98 w 340"/>
                <a:gd name="T33" fmla="*/ 12 h 175"/>
                <a:gd name="T34" fmla="*/ 98 w 340"/>
                <a:gd name="T35" fmla="*/ 39 h 175"/>
                <a:gd name="T36" fmla="*/ 98 w 340"/>
                <a:gd name="T37" fmla="*/ 12 h 175"/>
                <a:gd name="T38" fmla="*/ 12 w 340"/>
                <a:gd name="T39" fmla="*/ 150 h 175"/>
                <a:gd name="T40" fmla="*/ 39 w 340"/>
                <a:gd name="T41" fmla="*/ 150 h 175"/>
                <a:gd name="T42" fmla="*/ 44 w 340"/>
                <a:gd name="T43" fmla="*/ 133 h 175"/>
                <a:gd name="T44" fmla="*/ 91 w 340"/>
                <a:gd name="T45" fmla="*/ 50 h 175"/>
                <a:gd name="T46" fmla="*/ 116 w 340"/>
                <a:gd name="T47" fmla="*/ 43 h 175"/>
                <a:gd name="T48" fmla="*/ 44 w 340"/>
                <a:gd name="T49" fmla="*/ 133 h 175"/>
                <a:gd name="T50" fmla="*/ 50 w 340"/>
                <a:gd name="T51" fmla="*/ 144 h 175"/>
                <a:gd name="T52" fmla="*/ 164 w 340"/>
                <a:gd name="T53" fmla="*/ 78 h 175"/>
                <a:gd name="T54" fmla="*/ 145 w 340"/>
                <a:gd name="T55" fmla="*/ 144 h 175"/>
                <a:gd name="T56" fmla="*/ 156 w 340"/>
                <a:gd name="T57" fmla="*/ 150 h 175"/>
                <a:gd name="T58" fmla="*/ 183 w 340"/>
                <a:gd name="T59" fmla="*/ 150 h 175"/>
                <a:gd name="T60" fmla="*/ 289 w 340"/>
                <a:gd name="T61" fmla="*/ 144 h 175"/>
                <a:gd name="T62" fmla="*/ 176 w 340"/>
                <a:gd name="T63" fmla="*/ 125 h 175"/>
                <a:gd name="T64" fmla="*/ 290 w 340"/>
                <a:gd name="T65" fmla="*/ 143 h 175"/>
                <a:gd name="T66" fmla="*/ 296 w 340"/>
                <a:gd name="T67" fmla="*/ 132 h 175"/>
                <a:gd name="T68" fmla="*/ 225 w 340"/>
                <a:gd name="T69" fmla="*/ 43 h 175"/>
                <a:gd name="T70" fmla="*/ 249 w 340"/>
                <a:gd name="T71" fmla="*/ 50 h 175"/>
                <a:gd name="T72" fmla="*/ 296 w 340"/>
                <a:gd name="T73" fmla="*/ 132 h 175"/>
                <a:gd name="T74" fmla="*/ 301 w 340"/>
                <a:gd name="T75" fmla="*/ 150 h 175"/>
                <a:gd name="T76" fmla="*/ 328 w 340"/>
                <a:gd name="T77" fmla="*/ 15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0" h="175">
                  <a:moveTo>
                    <a:pt x="314" y="125"/>
                  </a:moveTo>
                  <a:cubicBezTo>
                    <a:pt x="312" y="125"/>
                    <a:pt x="309" y="125"/>
                    <a:pt x="307" y="126"/>
                  </a:cubicBezTo>
                  <a:cubicBezTo>
                    <a:pt x="260" y="44"/>
                    <a:pt x="260" y="44"/>
                    <a:pt x="260" y="44"/>
                  </a:cubicBezTo>
                  <a:cubicBezTo>
                    <a:pt x="265" y="40"/>
                    <a:pt x="269" y="33"/>
                    <a:pt x="269" y="25"/>
                  </a:cubicBezTo>
                  <a:cubicBezTo>
                    <a:pt x="269" y="11"/>
                    <a:pt x="257" y="0"/>
                    <a:pt x="243" y="0"/>
                  </a:cubicBezTo>
                  <a:cubicBezTo>
                    <a:pt x="231" y="0"/>
                    <a:pt x="221" y="8"/>
                    <a:pt x="219" y="19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20" y="8"/>
                    <a:pt x="110" y="0"/>
                    <a:pt x="98" y="0"/>
                  </a:cubicBezTo>
                  <a:cubicBezTo>
                    <a:pt x="84" y="0"/>
                    <a:pt x="72" y="11"/>
                    <a:pt x="72" y="25"/>
                  </a:cubicBezTo>
                  <a:cubicBezTo>
                    <a:pt x="72" y="32"/>
                    <a:pt x="75" y="39"/>
                    <a:pt x="80" y="44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1" y="125"/>
                    <a:pt x="28" y="125"/>
                    <a:pt x="26" y="125"/>
                  </a:cubicBezTo>
                  <a:cubicBezTo>
                    <a:pt x="12" y="125"/>
                    <a:pt x="0" y="136"/>
                    <a:pt x="0" y="150"/>
                  </a:cubicBezTo>
                  <a:cubicBezTo>
                    <a:pt x="0" y="164"/>
                    <a:pt x="12" y="175"/>
                    <a:pt x="26" y="175"/>
                  </a:cubicBezTo>
                  <a:cubicBezTo>
                    <a:pt x="38" y="175"/>
                    <a:pt x="48" y="167"/>
                    <a:pt x="50" y="156"/>
                  </a:cubicBezTo>
                  <a:cubicBezTo>
                    <a:pt x="145" y="156"/>
                    <a:pt x="145" y="156"/>
                    <a:pt x="145" y="156"/>
                  </a:cubicBezTo>
                  <a:cubicBezTo>
                    <a:pt x="148" y="167"/>
                    <a:pt x="158" y="175"/>
                    <a:pt x="170" y="175"/>
                  </a:cubicBezTo>
                  <a:cubicBezTo>
                    <a:pt x="182" y="175"/>
                    <a:pt x="192" y="167"/>
                    <a:pt x="195" y="156"/>
                  </a:cubicBezTo>
                  <a:cubicBezTo>
                    <a:pt x="289" y="156"/>
                    <a:pt x="289" y="156"/>
                    <a:pt x="289" y="156"/>
                  </a:cubicBezTo>
                  <a:cubicBezTo>
                    <a:pt x="292" y="167"/>
                    <a:pt x="302" y="175"/>
                    <a:pt x="314" y="175"/>
                  </a:cubicBezTo>
                  <a:cubicBezTo>
                    <a:pt x="328" y="175"/>
                    <a:pt x="340" y="164"/>
                    <a:pt x="340" y="150"/>
                  </a:cubicBezTo>
                  <a:cubicBezTo>
                    <a:pt x="340" y="136"/>
                    <a:pt x="328" y="125"/>
                    <a:pt x="314" y="125"/>
                  </a:cubicBezTo>
                  <a:close/>
                  <a:moveTo>
                    <a:pt x="243" y="12"/>
                  </a:moveTo>
                  <a:cubicBezTo>
                    <a:pt x="251" y="12"/>
                    <a:pt x="257" y="18"/>
                    <a:pt x="257" y="25"/>
                  </a:cubicBezTo>
                  <a:cubicBezTo>
                    <a:pt x="257" y="33"/>
                    <a:pt x="251" y="39"/>
                    <a:pt x="243" y="39"/>
                  </a:cubicBezTo>
                  <a:cubicBezTo>
                    <a:pt x="236" y="39"/>
                    <a:pt x="230" y="33"/>
                    <a:pt x="230" y="25"/>
                  </a:cubicBezTo>
                  <a:cubicBezTo>
                    <a:pt x="230" y="18"/>
                    <a:pt x="236" y="12"/>
                    <a:pt x="243" y="12"/>
                  </a:cubicBezTo>
                  <a:close/>
                  <a:moveTo>
                    <a:pt x="122" y="31"/>
                  </a:moveTo>
                  <a:cubicBezTo>
                    <a:pt x="219" y="31"/>
                    <a:pt x="219" y="31"/>
                    <a:pt x="219" y="31"/>
                  </a:cubicBezTo>
                  <a:cubicBezTo>
                    <a:pt x="219" y="32"/>
                    <a:pt x="219" y="32"/>
                    <a:pt x="219" y="32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2" y="32"/>
                    <a:pt x="122" y="32"/>
                    <a:pt x="122" y="31"/>
                  </a:cubicBezTo>
                  <a:close/>
                  <a:moveTo>
                    <a:pt x="98" y="12"/>
                  </a:moveTo>
                  <a:cubicBezTo>
                    <a:pt x="105" y="12"/>
                    <a:pt x="111" y="18"/>
                    <a:pt x="111" y="25"/>
                  </a:cubicBezTo>
                  <a:cubicBezTo>
                    <a:pt x="111" y="33"/>
                    <a:pt x="105" y="39"/>
                    <a:pt x="98" y="39"/>
                  </a:cubicBezTo>
                  <a:cubicBezTo>
                    <a:pt x="90" y="39"/>
                    <a:pt x="84" y="33"/>
                    <a:pt x="84" y="25"/>
                  </a:cubicBezTo>
                  <a:cubicBezTo>
                    <a:pt x="84" y="18"/>
                    <a:pt x="90" y="12"/>
                    <a:pt x="98" y="12"/>
                  </a:cubicBezTo>
                  <a:close/>
                  <a:moveTo>
                    <a:pt x="26" y="163"/>
                  </a:moveTo>
                  <a:cubicBezTo>
                    <a:pt x="18" y="163"/>
                    <a:pt x="12" y="157"/>
                    <a:pt x="12" y="150"/>
                  </a:cubicBezTo>
                  <a:cubicBezTo>
                    <a:pt x="12" y="143"/>
                    <a:pt x="18" y="137"/>
                    <a:pt x="26" y="137"/>
                  </a:cubicBezTo>
                  <a:cubicBezTo>
                    <a:pt x="33" y="137"/>
                    <a:pt x="39" y="143"/>
                    <a:pt x="39" y="150"/>
                  </a:cubicBezTo>
                  <a:cubicBezTo>
                    <a:pt x="39" y="157"/>
                    <a:pt x="33" y="163"/>
                    <a:pt x="26" y="163"/>
                  </a:cubicBezTo>
                  <a:close/>
                  <a:moveTo>
                    <a:pt x="44" y="133"/>
                  </a:moveTo>
                  <a:cubicBezTo>
                    <a:pt x="44" y="132"/>
                    <a:pt x="44" y="132"/>
                    <a:pt x="43" y="132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3" y="50"/>
                    <a:pt x="95" y="51"/>
                    <a:pt x="98" y="51"/>
                  </a:cubicBezTo>
                  <a:cubicBezTo>
                    <a:pt x="105" y="51"/>
                    <a:pt x="112" y="48"/>
                    <a:pt x="116" y="43"/>
                  </a:cubicBezTo>
                  <a:cubicBezTo>
                    <a:pt x="158" y="67"/>
                    <a:pt x="158" y="67"/>
                    <a:pt x="158" y="67"/>
                  </a:cubicBezTo>
                  <a:lnTo>
                    <a:pt x="44" y="133"/>
                  </a:lnTo>
                  <a:close/>
                  <a:moveTo>
                    <a:pt x="145" y="144"/>
                  </a:moveTo>
                  <a:cubicBezTo>
                    <a:pt x="50" y="144"/>
                    <a:pt x="50" y="144"/>
                    <a:pt x="50" y="144"/>
                  </a:cubicBezTo>
                  <a:cubicBezTo>
                    <a:pt x="50" y="144"/>
                    <a:pt x="50" y="143"/>
                    <a:pt x="50" y="14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55" y="128"/>
                    <a:pt x="147" y="135"/>
                    <a:pt x="145" y="144"/>
                  </a:cubicBezTo>
                  <a:close/>
                  <a:moveTo>
                    <a:pt x="170" y="163"/>
                  </a:moveTo>
                  <a:cubicBezTo>
                    <a:pt x="163" y="163"/>
                    <a:pt x="156" y="157"/>
                    <a:pt x="156" y="150"/>
                  </a:cubicBezTo>
                  <a:cubicBezTo>
                    <a:pt x="156" y="143"/>
                    <a:pt x="163" y="137"/>
                    <a:pt x="170" y="137"/>
                  </a:cubicBezTo>
                  <a:cubicBezTo>
                    <a:pt x="177" y="137"/>
                    <a:pt x="183" y="143"/>
                    <a:pt x="183" y="150"/>
                  </a:cubicBezTo>
                  <a:cubicBezTo>
                    <a:pt x="183" y="157"/>
                    <a:pt x="177" y="163"/>
                    <a:pt x="170" y="163"/>
                  </a:cubicBezTo>
                  <a:close/>
                  <a:moveTo>
                    <a:pt x="289" y="144"/>
                  </a:moveTo>
                  <a:cubicBezTo>
                    <a:pt x="195" y="144"/>
                    <a:pt x="195" y="144"/>
                    <a:pt x="195" y="144"/>
                  </a:cubicBezTo>
                  <a:cubicBezTo>
                    <a:pt x="192" y="135"/>
                    <a:pt x="185" y="128"/>
                    <a:pt x="176" y="125"/>
                  </a:cubicBezTo>
                  <a:cubicBezTo>
                    <a:pt x="176" y="77"/>
                    <a:pt x="176" y="77"/>
                    <a:pt x="176" y="77"/>
                  </a:cubicBezTo>
                  <a:cubicBezTo>
                    <a:pt x="290" y="143"/>
                    <a:pt x="290" y="143"/>
                    <a:pt x="290" y="143"/>
                  </a:cubicBezTo>
                  <a:cubicBezTo>
                    <a:pt x="290" y="143"/>
                    <a:pt x="290" y="144"/>
                    <a:pt x="289" y="144"/>
                  </a:cubicBezTo>
                  <a:close/>
                  <a:moveTo>
                    <a:pt x="296" y="132"/>
                  </a:moveTo>
                  <a:cubicBezTo>
                    <a:pt x="182" y="67"/>
                    <a:pt x="182" y="67"/>
                    <a:pt x="182" y="67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29" y="47"/>
                    <a:pt x="236" y="51"/>
                    <a:pt x="243" y="51"/>
                  </a:cubicBezTo>
                  <a:cubicBezTo>
                    <a:pt x="245" y="51"/>
                    <a:pt x="247" y="50"/>
                    <a:pt x="249" y="50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6" y="132"/>
                    <a:pt x="296" y="132"/>
                    <a:pt x="296" y="132"/>
                  </a:cubicBezTo>
                  <a:close/>
                  <a:moveTo>
                    <a:pt x="314" y="163"/>
                  </a:moveTo>
                  <a:cubicBezTo>
                    <a:pt x="307" y="163"/>
                    <a:pt x="301" y="157"/>
                    <a:pt x="301" y="150"/>
                  </a:cubicBezTo>
                  <a:cubicBezTo>
                    <a:pt x="301" y="143"/>
                    <a:pt x="307" y="137"/>
                    <a:pt x="314" y="137"/>
                  </a:cubicBezTo>
                  <a:cubicBezTo>
                    <a:pt x="322" y="137"/>
                    <a:pt x="328" y="143"/>
                    <a:pt x="328" y="150"/>
                  </a:cubicBezTo>
                  <a:cubicBezTo>
                    <a:pt x="328" y="157"/>
                    <a:pt x="322" y="163"/>
                    <a:pt x="3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</p:grpSp>
      <p:grpSp>
        <p:nvGrpSpPr>
          <p:cNvPr id="19" name="Group 28">
            <a:extLst>
              <a:ext uri="{FF2B5EF4-FFF2-40B4-BE49-F238E27FC236}">
                <a16:creationId xmlns:a16="http://schemas.microsoft.com/office/drawing/2014/main" id="{660FCB21-8855-4F58-9848-CE8683BFD25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9327" y="1151322"/>
            <a:ext cx="754477" cy="756168"/>
            <a:chOff x="3167" y="1488"/>
            <a:chExt cx="1338" cy="1341"/>
          </a:xfrm>
          <a:solidFill>
            <a:srgbClr val="37AFC8"/>
          </a:solidFill>
        </p:grpSpPr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D73BAA13-22AD-47FD-B554-8B161F5E2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1" y="2290"/>
              <a:ext cx="292" cy="287"/>
            </a:xfrm>
            <a:custGeom>
              <a:avLst/>
              <a:gdLst>
                <a:gd name="T0" fmla="*/ 65 w 109"/>
                <a:gd name="T1" fmla="*/ 3 h 107"/>
                <a:gd name="T2" fmla="*/ 26 w 109"/>
                <a:gd name="T3" fmla="*/ 10 h 107"/>
                <a:gd name="T4" fmla="*/ 3 w 109"/>
                <a:gd name="T5" fmla="*/ 44 h 107"/>
                <a:gd name="T6" fmla="*/ 11 w 109"/>
                <a:gd name="T7" fmla="*/ 83 h 107"/>
                <a:gd name="T8" fmla="*/ 44 w 109"/>
                <a:gd name="T9" fmla="*/ 105 h 107"/>
                <a:gd name="T10" fmla="*/ 55 w 109"/>
                <a:gd name="T11" fmla="*/ 107 h 107"/>
                <a:gd name="T12" fmla="*/ 83 w 109"/>
                <a:gd name="T13" fmla="*/ 98 h 107"/>
                <a:gd name="T14" fmla="*/ 106 w 109"/>
                <a:gd name="T15" fmla="*/ 65 h 107"/>
                <a:gd name="T16" fmla="*/ 98 w 109"/>
                <a:gd name="T17" fmla="*/ 25 h 107"/>
                <a:gd name="T18" fmla="*/ 65 w 109"/>
                <a:gd name="T19" fmla="*/ 3 h 107"/>
                <a:gd name="T20" fmla="*/ 94 w 109"/>
                <a:gd name="T21" fmla="*/ 62 h 107"/>
                <a:gd name="T22" fmla="*/ 77 w 109"/>
                <a:gd name="T23" fmla="*/ 88 h 107"/>
                <a:gd name="T24" fmla="*/ 46 w 109"/>
                <a:gd name="T25" fmla="*/ 94 h 107"/>
                <a:gd name="T26" fmla="*/ 15 w 109"/>
                <a:gd name="T27" fmla="*/ 46 h 107"/>
                <a:gd name="T28" fmla="*/ 32 w 109"/>
                <a:gd name="T29" fmla="*/ 20 h 107"/>
                <a:gd name="T30" fmla="*/ 54 w 109"/>
                <a:gd name="T31" fmla="*/ 14 h 107"/>
                <a:gd name="T32" fmla="*/ 63 w 109"/>
                <a:gd name="T33" fmla="*/ 15 h 107"/>
                <a:gd name="T34" fmla="*/ 88 w 109"/>
                <a:gd name="T35" fmla="*/ 32 h 107"/>
                <a:gd name="T36" fmla="*/ 94 w 109"/>
                <a:gd name="T37" fmla="*/ 6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9" h="107">
                  <a:moveTo>
                    <a:pt x="65" y="3"/>
                  </a:moveTo>
                  <a:cubicBezTo>
                    <a:pt x="51" y="0"/>
                    <a:pt x="37" y="3"/>
                    <a:pt x="26" y="10"/>
                  </a:cubicBezTo>
                  <a:cubicBezTo>
                    <a:pt x="14" y="18"/>
                    <a:pt x="6" y="30"/>
                    <a:pt x="3" y="44"/>
                  </a:cubicBezTo>
                  <a:cubicBezTo>
                    <a:pt x="0" y="57"/>
                    <a:pt x="3" y="71"/>
                    <a:pt x="11" y="83"/>
                  </a:cubicBezTo>
                  <a:cubicBezTo>
                    <a:pt x="18" y="95"/>
                    <a:pt x="30" y="103"/>
                    <a:pt x="44" y="105"/>
                  </a:cubicBezTo>
                  <a:cubicBezTo>
                    <a:pt x="47" y="106"/>
                    <a:pt x="51" y="107"/>
                    <a:pt x="55" y="107"/>
                  </a:cubicBezTo>
                  <a:cubicBezTo>
                    <a:pt x="65" y="107"/>
                    <a:pt x="75" y="104"/>
                    <a:pt x="83" y="98"/>
                  </a:cubicBezTo>
                  <a:cubicBezTo>
                    <a:pt x="95" y="90"/>
                    <a:pt x="103" y="78"/>
                    <a:pt x="106" y="65"/>
                  </a:cubicBezTo>
                  <a:cubicBezTo>
                    <a:pt x="109" y="51"/>
                    <a:pt x="106" y="37"/>
                    <a:pt x="98" y="25"/>
                  </a:cubicBezTo>
                  <a:cubicBezTo>
                    <a:pt x="91" y="14"/>
                    <a:pt x="79" y="6"/>
                    <a:pt x="65" y="3"/>
                  </a:cubicBezTo>
                  <a:close/>
                  <a:moveTo>
                    <a:pt x="94" y="62"/>
                  </a:moveTo>
                  <a:cubicBezTo>
                    <a:pt x="92" y="73"/>
                    <a:pt x="86" y="82"/>
                    <a:pt x="77" y="88"/>
                  </a:cubicBezTo>
                  <a:cubicBezTo>
                    <a:pt x="68" y="94"/>
                    <a:pt x="57" y="96"/>
                    <a:pt x="46" y="94"/>
                  </a:cubicBezTo>
                  <a:cubicBezTo>
                    <a:pt x="25" y="89"/>
                    <a:pt x="11" y="68"/>
                    <a:pt x="15" y="46"/>
                  </a:cubicBezTo>
                  <a:cubicBezTo>
                    <a:pt x="17" y="35"/>
                    <a:pt x="23" y="26"/>
                    <a:pt x="32" y="20"/>
                  </a:cubicBezTo>
                  <a:cubicBezTo>
                    <a:pt x="39" y="16"/>
                    <a:pt x="47" y="14"/>
                    <a:pt x="54" y="14"/>
                  </a:cubicBezTo>
                  <a:cubicBezTo>
                    <a:pt x="57" y="14"/>
                    <a:pt x="60" y="14"/>
                    <a:pt x="63" y="15"/>
                  </a:cubicBezTo>
                  <a:cubicBezTo>
                    <a:pt x="73" y="17"/>
                    <a:pt x="82" y="23"/>
                    <a:pt x="88" y="32"/>
                  </a:cubicBezTo>
                  <a:cubicBezTo>
                    <a:pt x="94" y="41"/>
                    <a:pt x="96" y="52"/>
                    <a:pt x="94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1EF83500-4171-401D-B28D-0EDDFA9FDB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7" y="2041"/>
              <a:ext cx="780" cy="788"/>
            </a:xfrm>
            <a:custGeom>
              <a:avLst/>
              <a:gdLst>
                <a:gd name="T0" fmla="*/ 249 w 291"/>
                <a:gd name="T1" fmla="*/ 61 h 294"/>
                <a:gd name="T2" fmla="*/ 212 w 291"/>
                <a:gd name="T3" fmla="*/ 59 h 294"/>
                <a:gd name="T4" fmla="*/ 215 w 291"/>
                <a:gd name="T5" fmla="*/ 22 h 294"/>
                <a:gd name="T6" fmla="*/ 144 w 291"/>
                <a:gd name="T7" fmla="*/ 1 h 294"/>
                <a:gd name="T8" fmla="*/ 123 w 291"/>
                <a:gd name="T9" fmla="*/ 14 h 294"/>
                <a:gd name="T10" fmla="*/ 102 w 291"/>
                <a:gd name="T11" fmla="*/ 46 h 294"/>
                <a:gd name="T12" fmla="*/ 60 w 291"/>
                <a:gd name="T13" fmla="*/ 30 h 294"/>
                <a:gd name="T14" fmla="*/ 13 w 291"/>
                <a:gd name="T15" fmla="*/ 88 h 294"/>
                <a:gd name="T16" fmla="*/ 39 w 291"/>
                <a:gd name="T17" fmla="*/ 119 h 294"/>
                <a:gd name="T18" fmla="*/ 36 w 291"/>
                <a:gd name="T19" fmla="*/ 134 h 294"/>
                <a:gd name="T20" fmla="*/ 3 w 291"/>
                <a:gd name="T21" fmla="*/ 150 h 294"/>
                <a:gd name="T22" fmla="*/ 20 w 291"/>
                <a:gd name="T23" fmla="*/ 222 h 294"/>
                <a:gd name="T24" fmla="*/ 42 w 291"/>
                <a:gd name="T25" fmla="*/ 233 h 294"/>
                <a:gd name="T26" fmla="*/ 79 w 291"/>
                <a:gd name="T27" fmla="*/ 235 h 294"/>
                <a:gd name="T28" fmla="*/ 87 w 291"/>
                <a:gd name="T29" fmla="*/ 280 h 294"/>
                <a:gd name="T30" fmla="*/ 151 w 291"/>
                <a:gd name="T31" fmla="*/ 294 h 294"/>
                <a:gd name="T32" fmla="*/ 168 w 291"/>
                <a:gd name="T33" fmla="*/ 280 h 294"/>
                <a:gd name="T34" fmla="*/ 189 w 291"/>
                <a:gd name="T35" fmla="*/ 248 h 294"/>
                <a:gd name="T36" fmla="*/ 231 w 291"/>
                <a:gd name="T37" fmla="*/ 264 h 294"/>
                <a:gd name="T38" fmla="*/ 278 w 291"/>
                <a:gd name="T39" fmla="*/ 206 h 294"/>
                <a:gd name="T40" fmla="*/ 252 w 291"/>
                <a:gd name="T41" fmla="*/ 176 h 294"/>
                <a:gd name="T42" fmla="*/ 255 w 291"/>
                <a:gd name="T43" fmla="*/ 160 h 294"/>
                <a:gd name="T44" fmla="*/ 288 w 291"/>
                <a:gd name="T45" fmla="*/ 145 h 294"/>
                <a:gd name="T46" fmla="*/ 271 w 291"/>
                <a:gd name="T47" fmla="*/ 73 h 294"/>
                <a:gd name="T48" fmla="*/ 231 w 291"/>
                <a:gd name="T49" fmla="*/ 154 h 294"/>
                <a:gd name="T50" fmla="*/ 228 w 291"/>
                <a:gd name="T51" fmla="*/ 172 h 294"/>
                <a:gd name="T52" fmla="*/ 251 w 291"/>
                <a:gd name="T53" fmla="*/ 207 h 294"/>
                <a:gd name="T54" fmla="*/ 202 w 291"/>
                <a:gd name="T55" fmla="*/ 228 h 294"/>
                <a:gd name="T56" fmla="*/ 165 w 291"/>
                <a:gd name="T57" fmla="*/ 231 h 294"/>
                <a:gd name="T58" fmla="*/ 146 w 291"/>
                <a:gd name="T59" fmla="*/ 269 h 294"/>
                <a:gd name="T60" fmla="*/ 104 w 291"/>
                <a:gd name="T61" fmla="*/ 236 h 294"/>
                <a:gd name="T62" fmla="*/ 83 w 291"/>
                <a:gd name="T63" fmla="*/ 206 h 294"/>
                <a:gd name="T64" fmla="*/ 41 w 291"/>
                <a:gd name="T65" fmla="*/ 208 h 294"/>
                <a:gd name="T66" fmla="*/ 47 w 291"/>
                <a:gd name="T67" fmla="*/ 156 h 294"/>
                <a:gd name="T68" fmla="*/ 61 w 291"/>
                <a:gd name="T69" fmla="*/ 128 h 294"/>
                <a:gd name="T70" fmla="*/ 58 w 291"/>
                <a:gd name="T71" fmla="*/ 104 h 294"/>
                <a:gd name="T72" fmla="*/ 73 w 291"/>
                <a:gd name="T73" fmla="*/ 51 h 294"/>
                <a:gd name="T74" fmla="*/ 109 w 291"/>
                <a:gd name="T75" fmla="*/ 69 h 294"/>
                <a:gd name="T76" fmla="*/ 139 w 291"/>
                <a:gd name="T77" fmla="*/ 50 h 294"/>
                <a:gd name="T78" fmla="*/ 192 w 291"/>
                <a:gd name="T79" fmla="*/ 36 h 294"/>
                <a:gd name="T80" fmla="*/ 187 w 291"/>
                <a:gd name="T81" fmla="*/ 58 h 294"/>
                <a:gd name="T82" fmla="*/ 208 w 291"/>
                <a:gd name="T83" fmla="*/ 88 h 294"/>
                <a:gd name="T84" fmla="*/ 250 w 291"/>
                <a:gd name="T85" fmla="*/ 86 h 294"/>
                <a:gd name="T86" fmla="*/ 244 w 291"/>
                <a:gd name="T87" fmla="*/ 139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1" h="294">
                  <a:moveTo>
                    <a:pt x="271" y="73"/>
                  </a:moveTo>
                  <a:cubicBezTo>
                    <a:pt x="268" y="63"/>
                    <a:pt x="258" y="58"/>
                    <a:pt x="249" y="6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0" y="66"/>
                    <a:pt x="216" y="62"/>
                    <a:pt x="212" y="59"/>
                  </a:cubicBezTo>
                  <a:cubicBezTo>
                    <a:pt x="217" y="36"/>
                    <a:pt x="217" y="36"/>
                    <a:pt x="217" y="36"/>
                  </a:cubicBezTo>
                  <a:cubicBezTo>
                    <a:pt x="218" y="31"/>
                    <a:pt x="217" y="26"/>
                    <a:pt x="215" y="22"/>
                  </a:cubicBezTo>
                  <a:cubicBezTo>
                    <a:pt x="212" y="18"/>
                    <a:pt x="208" y="15"/>
                    <a:pt x="204" y="14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39" y="0"/>
                    <a:pt x="135" y="1"/>
                    <a:pt x="131" y="3"/>
                  </a:cubicBezTo>
                  <a:cubicBezTo>
                    <a:pt x="127" y="6"/>
                    <a:pt x="124" y="10"/>
                    <a:pt x="123" y="14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2" y="42"/>
                    <a:pt x="107" y="44"/>
                    <a:pt x="102" y="46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77" y="23"/>
                    <a:pt x="66" y="23"/>
                    <a:pt x="60" y="30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5" y="79"/>
                    <a:pt x="13" y="83"/>
                    <a:pt x="13" y="88"/>
                  </a:cubicBezTo>
                  <a:cubicBezTo>
                    <a:pt x="14" y="93"/>
                    <a:pt x="16" y="97"/>
                    <a:pt x="19" y="100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20"/>
                    <a:pt x="38" y="122"/>
                    <a:pt x="38" y="123"/>
                  </a:cubicBezTo>
                  <a:cubicBezTo>
                    <a:pt x="37" y="127"/>
                    <a:pt x="37" y="130"/>
                    <a:pt x="36" y="134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9" y="142"/>
                    <a:pt x="5" y="146"/>
                    <a:pt x="3" y="150"/>
                  </a:cubicBezTo>
                  <a:cubicBezTo>
                    <a:pt x="0" y="154"/>
                    <a:pt x="0" y="159"/>
                    <a:pt x="1" y="163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1" y="226"/>
                    <a:pt x="24" y="230"/>
                    <a:pt x="28" y="232"/>
                  </a:cubicBezTo>
                  <a:cubicBezTo>
                    <a:pt x="33" y="234"/>
                    <a:pt x="37" y="235"/>
                    <a:pt x="42" y="233"/>
                  </a:cubicBezTo>
                  <a:cubicBezTo>
                    <a:pt x="68" y="225"/>
                    <a:pt x="68" y="225"/>
                    <a:pt x="68" y="225"/>
                  </a:cubicBezTo>
                  <a:cubicBezTo>
                    <a:pt x="71" y="229"/>
                    <a:pt x="75" y="232"/>
                    <a:pt x="79" y="235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2" y="268"/>
                    <a:pt x="78" y="278"/>
                    <a:pt x="87" y="280"/>
                  </a:cubicBezTo>
                  <a:cubicBezTo>
                    <a:pt x="147" y="293"/>
                    <a:pt x="147" y="293"/>
                    <a:pt x="147" y="293"/>
                  </a:cubicBezTo>
                  <a:cubicBezTo>
                    <a:pt x="148" y="294"/>
                    <a:pt x="150" y="294"/>
                    <a:pt x="151" y="294"/>
                  </a:cubicBezTo>
                  <a:cubicBezTo>
                    <a:pt x="154" y="294"/>
                    <a:pt x="158" y="293"/>
                    <a:pt x="160" y="291"/>
                  </a:cubicBezTo>
                  <a:cubicBezTo>
                    <a:pt x="164" y="289"/>
                    <a:pt x="167" y="285"/>
                    <a:pt x="168" y="280"/>
                  </a:cubicBezTo>
                  <a:cubicBezTo>
                    <a:pt x="174" y="253"/>
                    <a:pt x="174" y="253"/>
                    <a:pt x="174" y="253"/>
                  </a:cubicBezTo>
                  <a:cubicBezTo>
                    <a:pt x="179" y="252"/>
                    <a:pt x="184" y="250"/>
                    <a:pt x="189" y="248"/>
                  </a:cubicBezTo>
                  <a:cubicBezTo>
                    <a:pt x="206" y="265"/>
                    <a:pt x="206" y="265"/>
                    <a:pt x="206" y="265"/>
                  </a:cubicBezTo>
                  <a:cubicBezTo>
                    <a:pt x="214" y="271"/>
                    <a:pt x="225" y="271"/>
                    <a:pt x="231" y="264"/>
                  </a:cubicBezTo>
                  <a:cubicBezTo>
                    <a:pt x="273" y="219"/>
                    <a:pt x="273" y="219"/>
                    <a:pt x="273" y="219"/>
                  </a:cubicBezTo>
                  <a:cubicBezTo>
                    <a:pt x="276" y="215"/>
                    <a:pt x="278" y="211"/>
                    <a:pt x="278" y="206"/>
                  </a:cubicBezTo>
                  <a:cubicBezTo>
                    <a:pt x="277" y="201"/>
                    <a:pt x="275" y="197"/>
                    <a:pt x="272" y="194"/>
                  </a:cubicBezTo>
                  <a:cubicBezTo>
                    <a:pt x="252" y="176"/>
                    <a:pt x="252" y="176"/>
                    <a:pt x="252" y="176"/>
                  </a:cubicBezTo>
                  <a:cubicBezTo>
                    <a:pt x="252" y="174"/>
                    <a:pt x="253" y="173"/>
                    <a:pt x="253" y="171"/>
                  </a:cubicBezTo>
                  <a:cubicBezTo>
                    <a:pt x="254" y="168"/>
                    <a:pt x="254" y="164"/>
                    <a:pt x="255" y="160"/>
                  </a:cubicBezTo>
                  <a:cubicBezTo>
                    <a:pt x="278" y="153"/>
                    <a:pt x="278" y="153"/>
                    <a:pt x="278" y="153"/>
                  </a:cubicBezTo>
                  <a:cubicBezTo>
                    <a:pt x="282" y="152"/>
                    <a:pt x="286" y="149"/>
                    <a:pt x="288" y="145"/>
                  </a:cubicBezTo>
                  <a:cubicBezTo>
                    <a:pt x="291" y="140"/>
                    <a:pt x="291" y="136"/>
                    <a:pt x="290" y="131"/>
                  </a:cubicBezTo>
                  <a:lnTo>
                    <a:pt x="271" y="73"/>
                  </a:lnTo>
                  <a:close/>
                  <a:moveTo>
                    <a:pt x="244" y="139"/>
                  </a:moveTo>
                  <a:cubicBezTo>
                    <a:pt x="237" y="141"/>
                    <a:pt x="232" y="147"/>
                    <a:pt x="231" y="154"/>
                  </a:cubicBezTo>
                  <a:cubicBezTo>
                    <a:pt x="231" y="158"/>
                    <a:pt x="230" y="162"/>
                    <a:pt x="230" y="166"/>
                  </a:cubicBezTo>
                  <a:cubicBezTo>
                    <a:pt x="229" y="168"/>
                    <a:pt x="228" y="170"/>
                    <a:pt x="228" y="172"/>
                  </a:cubicBezTo>
                  <a:cubicBezTo>
                    <a:pt x="226" y="179"/>
                    <a:pt x="228" y="186"/>
                    <a:pt x="233" y="191"/>
                  </a:cubicBezTo>
                  <a:cubicBezTo>
                    <a:pt x="251" y="207"/>
                    <a:pt x="251" y="207"/>
                    <a:pt x="251" y="207"/>
                  </a:cubicBezTo>
                  <a:cubicBezTo>
                    <a:pt x="218" y="243"/>
                    <a:pt x="218" y="243"/>
                    <a:pt x="218" y="243"/>
                  </a:cubicBezTo>
                  <a:cubicBezTo>
                    <a:pt x="202" y="228"/>
                    <a:pt x="202" y="228"/>
                    <a:pt x="202" y="228"/>
                  </a:cubicBezTo>
                  <a:cubicBezTo>
                    <a:pt x="196" y="223"/>
                    <a:pt x="189" y="222"/>
                    <a:pt x="182" y="225"/>
                  </a:cubicBezTo>
                  <a:cubicBezTo>
                    <a:pt x="177" y="228"/>
                    <a:pt x="171" y="230"/>
                    <a:pt x="165" y="231"/>
                  </a:cubicBezTo>
                  <a:cubicBezTo>
                    <a:pt x="158" y="232"/>
                    <a:pt x="153" y="238"/>
                    <a:pt x="152" y="244"/>
                  </a:cubicBezTo>
                  <a:cubicBezTo>
                    <a:pt x="146" y="269"/>
                    <a:pt x="146" y="269"/>
                    <a:pt x="146" y="269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5" y="229"/>
                    <a:pt x="102" y="222"/>
                    <a:pt x="96" y="218"/>
                  </a:cubicBezTo>
                  <a:cubicBezTo>
                    <a:pt x="91" y="214"/>
                    <a:pt x="87" y="211"/>
                    <a:pt x="83" y="206"/>
                  </a:cubicBezTo>
                  <a:cubicBezTo>
                    <a:pt x="78" y="201"/>
                    <a:pt x="71" y="199"/>
                    <a:pt x="64" y="201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47" y="156"/>
                    <a:pt x="47" y="156"/>
                    <a:pt x="47" y="156"/>
                  </a:cubicBezTo>
                  <a:cubicBezTo>
                    <a:pt x="54" y="153"/>
                    <a:pt x="59" y="147"/>
                    <a:pt x="60" y="140"/>
                  </a:cubicBezTo>
                  <a:cubicBezTo>
                    <a:pt x="60" y="136"/>
                    <a:pt x="61" y="132"/>
                    <a:pt x="61" y="128"/>
                  </a:cubicBezTo>
                  <a:cubicBezTo>
                    <a:pt x="62" y="126"/>
                    <a:pt x="63" y="124"/>
                    <a:pt x="63" y="122"/>
                  </a:cubicBezTo>
                  <a:cubicBezTo>
                    <a:pt x="65" y="116"/>
                    <a:pt x="63" y="108"/>
                    <a:pt x="58" y="104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95" y="71"/>
                    <a:pt x="102" y="72"/>
                    <a:pt x="109" y="69"/>
                  </a:cubicBezTo>
                  <a:cubicBezTo>
                    <a:pt x="114" y="67"/>
                    <a:pt x="120" y="65"/>
                    <a:pt x="126" y="63"/>
                  </a:cubicBezTo>
                  <a:cubicBezTo>
                    <a:pt x="133" y="62"/>
                    <a:pt x="138" y="56"/>
                    <a:pt x="139" y="50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87" y="58"/>
                    <a:pt x="187" y="58"/>
                    <a:pt x="187" y="58"/>
                  </a:cubicBezTo>
                  <a:cubicBezTo>
                    <a:pt x="187" y="58"/>
                    <a:pt x="187" y="58"/>
                    <a:pt x="187" y="58"/>
                  </a:cubicBezTo>
                  <a:cubicBezTo>
                    <a:pt x="186" y="65"/>
                    <a:pt x="189" y="72"/>
                    <a:pt x="195" y="76"/>
                  </a:cubicBezTo>
                  <a:cubicBezTo>
                    <a:pt x="200" y="80"/>
                    <a:pt x="204" y="84"/>
                    <a:pt x="208" y="88"/>
                  </a:cubicBezTo>
                  <a:cubicBezTo>
                    <a:pt x="213" y="93"/>
                    <a:pt x="220" y="95"/>
                    <a:pt x="227" y="93"/>
                  </a:cubicBezTo>
                  <a:cubicBezTo>
                    <a:pt x="250" y="86"/>
                    <a:pt x="250" y="86"/>
                    <a:pt x="250" y="86"/>
                  </a:cubicBezTo>
                  <a:cubicBezTo>
                    <a:pt x="265" y="132"/>
                    <a:pt x="265" y="132"/>
                    <a:pt x="265" y="132"/>
                  </a:cubicBezTo>
                  <a:lnTo>
                    <a:pt x="244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22" name="Freeform 31">
              <a:extLst>
                <a:ext uri="{FF2B5EF4-FFF2-40B4-BE49-F238E27FC236}">
                  <a16:creationId xmlns:a16="http://schemas.microsoft.com/office/drawing/2014/main" id="{8B42DACE-99A5-4FD5-8942-9F3D7A9B93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1" y="1727"/>
              <a:ext cx="293" cy="289"/>
            </a:xfrm>
            <a:custGeom>
              <a:avLst/>
              <a:gdLst>
                <a:gd name="T0" fmla="*/ 50 w 109"/>
                <a:gd name="T1" fmla="*/ 3 h 108"/>
                <a:gd name="T2" fmla="*/ 2 w 109"/>
                <a:gd name="T3" fmla="*/ 60 h 108"/>
                <a:gd name="T4" fmla="*/ 21 w 109"/>
                <a:gd name="T5" fmla="*/ 95 h 108"/>
                <a:gd name="T6" fmla="*/ 54 w 109"/>
                <a:gd name="T7" fmla="*/ 108 h 108"/>
                <a:gd name="T8" fmla="*/ 59 w 109"/>
                <a:gd name="T9" fmla="*/ 107 h 108"/>
                <a:gd name="T10" fmla="*/ 107 w 109"/>
                <a:gd name="T11" fmla="*/ 51 h 108"/>
                <a:gd name="T12" fmla="*/ 50 w 109"/>
                <a:gd name="T13" fmla="*/ 3 h 108"/>
                <a:gd name="T14" fmla="*/ 58 w 109"/>
                <a:gd name="T15" fmla="*/ 95 h 108"/>
                <a:gd name="T16" fmla="*/ 29 w 109"/>
                <a:gd name="T17" fmla="*/ 86 h 108"/>
                <a:gd name="T18" fmla="*/ 14 w 109"/>
                <a:gd name="T19" fmla="*/ 59 h 108"/>
                <a:gd name="T20" fmla="*/ 51 w 109"/>
                <a:gd name="T21" fmla="*/ 15 h 108"/>
                <a:gd name="T22" fmla="*/ 54 w 109"/>
                <a:gd name="T23" fmla="*/ 15 h 108"/>
                <a:gd name="T24" fmla="*/ 95 w 109"/>
                <a:gd name="T25" fmla="*/ 52 h 108"/>
                <a:gd name="T26" fmla="*/ 58 w 109"/>
                <a:gd name="T27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08">
                  <a:moveTo>
                    <a:pt x="50" y="3"/>
                  </a:moveTo>
                  <a:cubicBezTo>
                    <a:pt x="21" y="6"/>
                    <a:pt x="0" y="31"/>
                    <a:pt x="2" y="60"/>
                  </a:cubicBezTo>
                  <a:cubicBezTo>
                    <a:pt x="4" y="74"/>
                    <a:pt x="10" y="86"/>
                    <a:pt x="21" y="95"/>
                  </a:cubicBezTo>
                  <a:cubicBezTo>
                    <a:pt x="30" y="103"/>
                    <a:pt x="42" y="108"/>
                    <a:pt x="54" y="108"/>
                  </a:cubicBezTo>
                  <a:cubicBezTo>
                    <a:pt x="56" y="108"/>
                    <a:pt x="57" y="107"/>
                    <a:pt x="59" y="107"/>
                  </a:cubicBezTo>
                  <a:cubicBezTo>
                    <a:pt x="88" y="105"/>
                    <a:pt x="109" y="79"/>
                    <a:pt x="107" y="51"/>
                  </a:cubicBezTo>
                  <a:cubicBezTo>
                    <a:pt x="104" y="22"/>
                    <a:pt x="79" y="0"/>
                    <a:pt x="50" y="3"/>
                  </a:cubicBezTo>
                  <a:close/>
                  <a:moveTo>
                    <a:pt x="58" y="95"/>
                  </a:moveTo>
                  <a:cubicBezTo>
                    <a:pt x="47" y="96"/>
                    <a:pt x="37" y="93"/>
                    <a:pt x="29" y="86"/>
                  </a:cubicBezTo>
                  <a:cubicBezTo>
                    <a:pt x="20" y="79"/>
                    <a:pt x="15" y="69"/>
                    <a:pt x="14" y="59"/>
                  </a:cubicBezTo>
                  <a:cubicBezTo>
                    <a:pt x="12" y="37"/>
                    <a:pt x="29" y="17"/>
                    <a:pt x="51" y="15"/>
                  </a:cubicBezTo>
                  <a:cubicBezTo>
                    <a:pt x="52" y="15"/>
                    <a:pt x="53" y="15"/>
                    <a:pt x="54" y="15"/>
                  </a:cubicBezTo>
                  <a:cubicBezTo>
                    <a:pt x="75" y="15"/>
                    <a:pt x="93" y="31"/>
                    <a:pt x="95" y="52"/>
                  </a:cubicBezTo>
                  <a:cubicBezTo>
                    <a:pt x="97" y="74"/>
                    <a:pt x="80" y="93"/>
                    <a:pt x="58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23" name="Freeform 32">
              <a:extLst>
                <a:ext uri="{FF2B5EF4-FFF2-40B4-BE49-F238E27FC236}">
                  <a16:creationId xmlns:a16="http://schemas.microsoft.com/office/drawing/2014/main" id="{3B92AE93-1B14-436D-A0C0-6200493F3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7" y="1488"/>
              <a:ext cx="778" cy="773"/>
            </a:xfrm>
            <a:custGeom>
              <a:avLst/>
              <a:gdLst>
                <a:gd name="T0" fmla="*/ 280 w 290"/>
                <a:gd name="T1" fmla="*/ 153 h 288"/>
                <a:gd name="T2" fmla="*/ 255 w 290"/>
                <a:gd name="T3" fmla="*/ 136 h 288"/>
                <a:gd name="T4" fmla="*/ 274 w 290"/>
                <a:gd name="T5" fmla="*/ 112 h 288"/>
                <a:gd name="T6" fmla="*/ 279 w 290"/>
                <a:gd name="T7" fmla="*/ 87 h 288"/>
                <a:gd name="T8" fmla="*/ 220 w 290"/>
                <a:gd name="T9" fmla="*/ 32 h 288"/>
                <a:gd name="T10" fmla="*/ 184 w 290"/>
                <a:gd name="T11" fmla="*/ 41 h 288"/>
                <a:gd name="T12" fmla="*/ 163 w 290"/>
                <a:gd name="T13" fmla="*/ 0 h 288"/>
                <a:gd name="T14" fmla="*/ 90 w 290"/>
                <a:gd name="T15" fmla="*/ 11 h 288"/>
                <a:gd name="T16" fmla="*/ 87 w 290"/>
                <a:gd name="T17" fmla="*/ 50 h 288"/>
                <a:gd name="T18" fmla="*/ 53 w 290"/>
                <a:gd name="T19" fmla="*/ 49 h 288"/>
                <a:gd name="T20" fmla="*/ 3 w 290"/>
                <a:gd name="T21" fmla="*/ 112 h 288"/>
                <a:gd name="T22" fmla="*/ 11 w 290"/>
                <a:gd name="T23" fmla="*/ 136 h 288"/>
                <a:gd name="T24" fmla="*/ 36 w 290"/>
                <a:gd name="T25" fmla="*/ 152 h 288"/>
                <a:gd name="T26" fmla="*/ 17 w 290"/>
                <a:gd name="T27" fmla="*/ 176 h 288"/>
                <a:gd name="T28" fmla="*/ 12 w 290"/>
                <a:gd name="T29" fmla="*/ 201 h 288"/>
                <a:gd name="T30" fmla="*/ 58 w 290"/>
                <a:gd name="T31" fmla="*/ 259 h 288"/>
                <a:gd name="T32" fmla="*/ 93 w 290"/>
                <a:gd name="T33" fmla="*/ 241 h 288"/>
                <a:gd name="T34" fmla="*/ 109 w 290"/>
                <a:gd name="T35" fmla="*/ 272 h 288"/>
                <a:gd name="T36" fmla="*/ 128 w 290"/>
                <a:gd name="T37" fmla="*/ 288 h 288"/>
                <a:gd name="T38" fmla="*/ 205 w 290"/>
                <a:gd name="T39" fmla="*/ 265 h 288"/>
                <a:gd name="T40" fmla="*/ 216 w 290"/>
                <a:gd name="T41" fmla="*/ 229 h 288"/>
                <a:gd name="T42" fmla="*/ 261 w 290"/>
                <a:gd name="T43" fmla="*/ 231 h 288"/>
                <a:gd name="T44" fmla="*/ 289 w 290"/>
                <a:gd name="T45" fmla="*/ 163 h 288"/>
                <a:gd name="T46" fmla="*/ 223 w 290"/>
                <a:gd name="T47" fmla="*/ 205 h 288"/>
                <a:gd name="T48" fmla="*/ 188 w 290"/>
                <a:gd name="T49" fmla="*/ 219 h 288"/>
                <a:gd name="T50" fmla="*/ 181 w 290"/>
                <a:gd name="T51" fmla="*/ 260 h 288"/>
                <a:gd name="T52" fmla="*/ 131 w 290"/>
                <a:gd name="T53" fmla="*/ 242 h 288"/>
                <a:gd name="T54" fmla="*/ 102 w 290"/>
                <a:gd name="T55" fmla="*/ 219 h 288"/>
                <a:gd name="T56" fmla="*/ 83 w 290"/>
                <a:gd name="T57" fmla="*/ 219 h 288"/>
                <a:gd name="T58" fmla="*/ 35 w 290"/>
                <a:gd name="T59" fmla="*/ 193 h 288"/>
                <a:gd name="T60" fmla="*/ 61 w 290"/>
                <a:gd name="T61" fmla="*/ 162 h 288"/>
                <a:gd name="T62" fmla="*/ 59 w 290"/>
                <a:gd name="T63" fmla="*/ 144 h 288"/>
                <a:gd name="T64" fmla="*/ 27 w 290"/>
                <a:gd name="T65" fmla="*/ 117 h 288"/>
                <a:gd name="T66" fmla="*/ 68 w 290"/>
                <a:gd name="T67" fmla="*/ 83 h 288"/>
                <a:gd name="T68" fmla="*/ 103 w 290"/>
                <a:gd name="T69" fmla="*/ 69 h 288"/>
                <a:gd name="T70" fmla="*/ 110 w 290"/>
                <a:gd name="T71" fmla="*/ 28 h 288"/>
                <a:gd name="T72" fmla="*/ 160 w 290"/>
                <a:gd name="T73" fmla="*/ 47 h 288"/>
                <a:gd name="T74" fmla="*/ 172 w 290"/>
                <a:gd name="T75" fmla="*/ 62 h 288"/>
                <a:gd name="T76" fmla="*/ 208 w 290"/>
                <a:gd name="T77" fmla="*/ 69 h 288"/>
                <a:gd name="T78" fmla="*/ 255 w 290"/>
                <a:gd name="T79" fmla="*/ 96 h 288"/>
                <a:gd name="T80" fmla="*/ 230 w 290"/>
                <a:gd name="T81" fmla="*/ 126 h 288"/>
                <a:gd name="T82" fmla="*/ 232 w 290"/>
                <a:gd name="T83" fmla="*/ 145 h 288"/>
                <a:gd name="T84" fmla="*/ 264 w 290"/>
                <a:gd name="T85" fmla="*/ 17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0" h="288">
                  <a:moveTo>
                    <a:pt x="289" y="163"/>
                  </a:moveTo>
                  <a:cubicBezTo>
                    <a:pt x="287" y="158"/>
                    <a:pt x="284" y="155"/>
                    <a:pt x="280" y="153"/>
                  </a:cubicBezTo>
                  <a:cubicBezTo>
                    <a:pt x="255" y="141"/>
                    <a:pt x="255" y="141"/>
                    <a:pt x="255" y="141"/>
                  </a:cubicBezTo>
                  <a:cubicBezTo>
                    <a:pt x="255" y="139"/>
                    <a:pt x="255" y="138"/>
                    <a:pt x="255" y="136"/>
                  </a:cubicBezTo>
                  <a:cubicBezTo>
                    <a:pt x="255" y="133"/>
                    <a:pt x="255" y="129"/>
                    <a:pt x="254" y="125"/>
                  </a:cubicBezTo>
                  <a:cubicBezTo>
                    <a:pt x="274" y="112"/>
                    <a:pt x="274" y="112"/>
                    <a:pt x="274" y="112"/>
                  </a:cubicBezTo>
                  <a:cubicBezTo>
                    <a:pt x="278" y="109"/>
                    <a:pt x="281" y="105"/>
                    <a:pt x="282" y="101"/>
                  </a:cubicBezTo>
                  <a:cubicBezTo>
                    <a:pt x="282" y="96"/>
                    <a:pt x="281" y="91"/>
                    <a:pt x="279" y="87"/>
                  </a:cubicBezTo>
                  <a:cubicBezTo>
                    <a:pt x="245" y="37"/>
                    <a:pt x="245" y="37"/>
                    <a:pt x="245" y="37"/>
                  </a:cubicBezTo>
                  <a:cubicBezTo>
                    <a:pt x="239" y="29"/>
                    <a:pt x="228" y="27"/>
                    <a:pt x="220" y="32"/>
                  </a:cubicBezTo>
                  <a:cubicBezTo>
                    <a:pt x="197" y="47"/>
                    <a:pt x="197" y="47"/>
                    <a:pt x="197" y="47"/>
                  </a:cubicBezTo>
                  <a:cubicBezTo>
                    <a:pt x="193" y="45"/>
                    <a:pt x="188" y="43"/>
                    <a:pt x="184" y="41"/>
                  </a:cubicBezTo>
                  <a:cubicBezTo>
                    <a:pt x="182" y="17"/>
                    <a:pt x="182" y="17"/>
                    <a:pt x="182" y="17"/>
                  </a:cubicBezTo>
                  <a:cubicBezTo>
                    <a:pt x="181" y="7"/>
                    <a:pt x="173" y="0"/>
                    <a:pt x="163" y="0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97" y="5"/>
                    <a:pt x="93" y="7"/>
                    <a:pt x="90" y="11"/>
                  </a:cubicBezTo>
                  <a:cubicBezTo>
                    <a:pt x="87" y="14"/>
                    <a:pt x="85" y="19"/>
                    <a:pt x="86" y="23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3" y="53"/>
                    <a:pt x="79" y="56"/>
                    <a:pt x="75" y="5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4" y="45"/>
                    <a:pt x="34" y="48"/>
                    <a:pt x="30" y="57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1" y="116"/>
                    <a:pt x="0" y="121"/>
                    <a:pt x="2" y="126"/>
                  </a:cubicBezTo>
                  <a:cubicBezTo>
                    <a:pt x="4" y="130"/>
                    <a:pt x="7" y="134"/>
                    <a:pt x="11" y="136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35" y="149"/>
                    <a:pt x="36" y="150"/>
                    <a:pt x="36" y="152"/>
                  </a:cubicBezTo>
                  <a:cubicBezTo>
                    <a:pt x="36" y="156"/>
                    <a:pt x="36" y="159"/>
                    <a:pt x="37" y="163"/>
                  </a:cubicBezTo>
                  <a:cubicBezTo>
                    <a:pt x="17" y="176"/>
                    <a:pt x="17" y="176"/>
                    <a:pt x="17" y="176"/>
                  </a:cubicBezTo>
                  <a:cubicBezTo>
                    <a:pt x="13" y="179"/>
                    <a:pt x="10" y="183"/>
                    <a:pt x="9" y="188"/>
                  </a:cubicBezTo>
                  <a:cubicBezTo>
                    <a:pt x="8" y="192"/>
                    <a:pt x="9" y="197"/>
                    <a:pt x="12" y="201"/>
                  </a:cubicBezTo>
                  <a:cubicBezTo>
                    <a:pt x="46" y="252"/>
                    <a:pt x="46" y="252"/>
                    <a:pt x="46" y="252"/>
                  </a:cubicBezTo>
                  <a:cubicBezTo>
                    <a:pt x="49" y="256"/>
                    <a:pt x="53" y="258"/>
                    <a:pt x="58" y="259"/>
                  </a:cubicBezTo>
                  <a:cubicBezTo>
                    <a:pt x="62" y="260"/>
                    <a:pt x="67" y="259"/>
                    <a:pt x="71" y="256"/>
                  </a:cubicBezTo>
                  <a:cubicBezTo>
                    <a:pt x="93" y="241"/>
                    <a:pt x="93" y="241"/>
                    <a:pt x="93" y="241"/>
                  </a:cubicBezTo>
                  <a:cubicBezTo>
                    <a:pt x="98" y="244"/>
                    <a:pt x="103" y="246"/>
                    <a:pt x="107" y="247"/>
                  </a:cubicBezTo>
                  <a:cubicBezTo>
                    <a:pt x="109" y="272"/>
                    <a:pt x="109" y="272"/>
                    <a:pt x="109" y="272"/>
                  </a:cubicBezTo>
                  <a:cubicBezTo>
                    <a:pt x="110" y="281"/>
                    <a:pt x="117" y="288"/>
                    <a:pt x="127" y="288"/>
                  </a:cubicBezTo>
                  <a:cubicBezTo>
                    <a:pt x="127" y="288"/>
                    <a:pt x="128" y="288"/>
                    <a:pt x="128" y="288"/>
                  </a:cubicBezTo>
                  <a:cubicBezTo>
                    <a:pt x="189" y="284"/>
                    <a:pt x="189" y="284"/>
                    <a:pt x="189" y="284"/>
                  </a:cubicBezTo>
                  <a:cubicBezTo>
                    <a:pt x="199" y="283"/>
                    <a:pt x="206" y="275"/>
                    <a:pt x="205" y="265"/>
                  </a:cubicBezTo>
                  <a:cubicBezTo>
                    <a:pt x="203" y="238"/>
                    <a:pt x="203" y="238"/>
                    <a:pt x="203" y="238"/>
                  </a:cubicBezTo>
                  <a:cubicBezTo>
                    <a:pt x="208" y="235"/>
                    <a:pt x="212" y="232"/>
                    <a:pt x="216" y="229"/>
                  </a:cubicBezTo>
                  <a:cubicBezTo>
                    <a:pt x="238" y="239"/>
                    <a:pt x="238" y="239"/>
                    <a:pt x="238" y="239"/>
                  </a:cubicBezTo>
                  <a:cubicBezTo>
                    <a:pt x="246" y="244"/>
                    <a:pt x="257" y="240"/>
                    <a:pt x="261" y="231"/>
                  </a:cubicBezTo>
                  <a:cubicBezTo>
                    <a:pt x="288" y="176"/>
                    <a:pt x="288" y="176"/>
                    <a:pt x="288" y="176"/>
                  </a:cubicBezTo>
                  <a:cubicBezTo>
                    <a:pt x="290" y="172"/>
                    <a:pt x="290" y="167"/>
                    <a:pt x="289" y="163"/>
                  </a:cubicBezTo>
                  <a:close/>
                  <a:moveTo>
                    <a:pt x="243" y="215"/>
                  </a:moveTo>
                  <a:cubicBezTo>
                    <a:pt x="223" y="205"/>
                    <a:pt x="223" y="205"/>
                    <a:pt x="223" y="205"/>
                  </a:cubicBezTo>
                  <a:cubicBezTo>
                    <a:pt x="216" y="202"/>
                    <a:pt x="208" y="203"/>
                    <a:pt x="203" y="208"/>
                  </a:cubicBezTo>
                  <a:cubicBezTo>
                    <a:pt x="198" y="212"/>
                    <a:pt x="193" y="216"/>
                    <a:pt x="188" y="219"/>
                  </a:cubicBezTo>
                  <a:cubicBezTo>
                    <a:pt x="182" y="222"/>
                    <a:pt x="179" y="229"/>
                    <a:pt x="179" y="236"/>
                  </a:cubicBezTo>
                  <a:cubicBezTo>
                    <a:pt x="181" y="260"/>
                    <a:pt x="181" y="260"/>
                    <a:pt x="181" y="260"/>
                  </a:cubicBezTo>
                  <a:cubicBezTo>
                    <a:pt x="133" y="264"/>
                    <a:pt x="133" y="264"/>
                    <a:pt x="133" y="264"/>
                  </a:cubicBezTo>
                  <a:cubicBezTo>
                    <a:pt x="131" y="242"/>
                    <a:pt x="131" y="242"/>
                    <a:pt x="131" y="242"/>
                  </a:cubicBezTo>
                  <a:cubicBezTo>
                    <a:pt x="130" y="234"/>
                    <a:pt x="126" y="228"/>
                    <a:pt x="119" y="226"/>
                  </a:cubicBezTo>
                  <a:cubicBezTo>
                    <a:pt x="113" y="224"/>
                    <a:pt x="107" y="222"/>
                    <a:pt x="102" y="219"/>
                  </a:cubicBezTo>
                  <a:cubicBezTo>
                    <a:pt x="99" y="217"/>
                    <a:pt x="96" y="216"/>
                    <a:pt x="93" y="216"/>
                  </a:cubicBezTo>
                  <a:cubicBezTo>
                    <a:pt x="90" y="216"/>
                    <a:pt x="86" y="217"/>
                    <a:pt x="83" y="219"/>
                  </a:cubicBezTo>
                  <a:cubicBezTo>
                    <a:pt x="63" y="233"/>
                    <a:pt x="63" y="233"/>
                    <a:pt x="63" y="233"/>
                  </a:cubicBezTo>
                  <a:cubicBezTo>
                    <a:pt x="35" y="193"/>
                    <a:pt x="35" y="193"/>
                    <a:pt x="35" y="193"/>
                  </a:cubicBezTo>
                  <a:cubicBezTo>
                    <a:pt x="54" y="180"/>
                    <a:pt x="54" y="180"/>
                    <a:pt x="54" y="180"/>
                  </a:cubicBezTo>
                  <a:cubicBezTo>
                    <a:pt x="60" y="176"/>
                    <a:pt x="63" y="169"/>
                    <a:pt x="61" y="162"/>
                  </a:cubicBezTo>
                  <a:cubicBezTo>
                    <a:pt x="60" y="158"/>
                    <a:pt x="60" y="154"/>
                    <a:pt x="60" y="150"/>
                  </a:cubicBezTo>
                  <a:cubicBezTo>
                    <a:pt x="59" y="148"/>
                    <a:pt x="59" y="146"/>
                    <a:pt x="59" y="144"/>
                  </a:cubicBezTo>
                  <a:cubicBezTo>
                    <a:pt x="59" y="137"/>
                    <a:pt x="56" y="131"/>
                    <a:pt x="49" y="128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68" y="83"/>
                    <a:pt x="68" y="83"/>
                    <a:pt x="68" y="83"/>
                  </a:cubicBezTo>
                  <a:cubicBezTo>
                    <a:pt x="75" y="86"/>
                    <a:pt x="83" y="85"/>
                    <a:pt x="88" y="80"/>
                  </a:cubicBezTo>
                  <a:cubicBezTo>
                    <a:pt x="93" y="76"/>
                    <a:pt x="98" y="72"/>
                    <a:pt x="103" y="69"/>
                  </a:cubicBezTo>
                  <a:cubicBezTo>
                    <a:pt x="109" y="66"/>
                    <a:pt x="112" y="59"/>
                    <a:pt x="112" y="53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60" y="47"/>
                    <a:pt x="160" y="47"/>
                    <a:pt x="160" y="47"/>
                  </a:cubicBezTo>
                  <a:cubicBezTo>
                    <a:pt x="160" y="47"/>
                    <a:pt x="160" y="47"/>
                    <a:pt x="160" y="47"/>
                  </a:cubicBezTo>
                  <a:cubicBezTo>
                    <a:pt x="160" y="54"/>
                    <a:pt x="165" y="60"/>
                    <a:pt x="172" y="62"/>
                  </a:cubicBezTo>
                  <a:cubicBezTo>
                    <a:pt x="178" y="64"/>
                    <a:pt x="184" y="67"/>
                    <a:pt x="189" y="70"/>
                  </a:cubicBezTo>
                  <a:cubicBezTo>
                    <a:pt x="195" y="73"/>
                    <a:pt x="202" y="73"/>
                    <a:pt x="208" y="69"/>
                  </a:cubicBezTo>
                  <a:cubicBezTo>
                    <a:pt x="228" y="55"/>
                    <a:pt x="228" y="55"/>
                    <a:pt x="228" y="55"/>
                  </a:cubicBezTo>
                  <a:cubicBezTo>
                    <a:pt x="255" y="96"/>
                    <a:pt x="255" y="96"/>
                    <a:pt x="255" y="96"/>
                  </a:cubicBezTo>
                  <a:cubicBezTo>
                    <a:pt x="237" y="108"/>
                    <a:pt x="237" y="108"/>
                    <a:pt x="237" y="108"/>
                  </a:cubicBezTo>
                  <a:cubicBezTo>
                    <a:pt x="231" y="112"/>
                    <a:pt x="228" y="119"/>
                    <a:pt x="230" y="126"/>
                  </a:cubicBezTo>
                  <a:cubicBezTo>
                    <a:pt x="230" y="130"/>
                    <a:pt x="231" y="134"/>
                    <a:pt x="231" y="138"/>
                  </a:cubicBezTo>
                  <a:cubicBezTo>
                    <a:pt x="231" y="140"/>
                    <a:pt x="232" y="142"/>
                    <a:pt x="232" y="145"/>
                  </a:cubicBezTo>
                  <a:cubicBezTo>
                    <a:pt x="232" y="151"/>
                    <a:pt x="235" y="158"/>
                    <a:pt x="241" y="161"/>
                  </a:cubicBezTo>
                  <a:cubicBezTo>
                    <a:pt x="264" y="171"/>
                    <a:pt x="264" y="171"/>
                    <a:pt x="264" y="171"/>
                  </a:cubicBezTo>
                  <a:lnTo>
                    <a:pt x="243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8774ED8-260E-4F43-A39B-B8B2F214EA66}"/>
              </a:ext>
            </a:extLst>
          </p:cNvPr>
          <p:cNvGrpSpPr/>
          <p:nvPr/>
        </p:nvGrpSpPr>
        <p:grpSpPr>
          <a:xfrm>
            <a:off x="8370299" y="5707033"/>
            <a:ext cx="655226" cy="670068"/>
            <a:chOff x="223837" y="-2619376"/>
            <a:chExt cx="490538" cy="501650"/>
          </a:xfrm>
          <a:solidFill>
            <a:srgbClr val="37AFC8"/>
          </a:solidFill>
        </p:grpSpPr>
        <p:sp>
          <p:nvSpPr>
            <p:cNvPr id="25" name="Freeform 219">
              <a:extLst>
                <a:ext uri="{FF2B5EF4-FFF2-40B4-BE49-F238E27FC236}">
                  <a16:creationId xmlns:a16="http://schemas.microsoft.com/office/drawing/2014/main" id="{DCB34D2E-0EEB-4457-A87E-0FA5A847CE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500" y="-2509838"/>
              <a:ext cx="304800" cy="288925"/>
            </a:xfrm>
            <a:custGeom>
              <a:avLst/>
              <a:gdLst>
                <a:gd name="T0" fmla="*/ 3 w 271"/>
                <a:gd name="T1" fmla="*/ 153 h 257"/>
                <a:gd name="T2" fmla="*/ 55 w 271"/>
                <a:gd name="T3" fmla="*/ 194 h 257"/>
                <a:gd name="T4" fmla="*/ 62 w 271"/>
                <a:gd name="T5" fmla="*/ 195 h 257"/>
                <a:gd name="T6" fmla="*/ 65 w 271"/>
                <a:gd name="T7" fmla="*/ 189 h 257"/>
                <a:gd name="T8" fmla="*/ 65 w 271"/>
                <a:gd name="T9" fmla="*/ 173 h 257"/>
                <a:gd name="T10" fmla="*/ 160 w 271"/>
                <a:gd name="T11" fmla="*/ 173 h 257"/>
                <a:gd name="T12" fmla="*/ 160 w 271"/>
                <a:gd name="T13" fmla="*/ 215 h 257"/>
                <a:gd name="T14" fmla="*/ 144 w 271"/>
                <a:gd name="T15" fmla="*/ 236 h 257"/>
                <a:gd name="T16" fmla="*/ 165 w 271"/>
                <a:gd name="T17" fmla="*/ 257 h 257"/>
                <a:gd name="T18" fmla="*/ 187 w 271"/>
                <a:gd name="T19" fmla="*/ 236 h 257"/>
                <a:gd name="T20" fmla="*/ 172 w 271"/>
                <a:gd name="T21" fmla="*/ 216 h 257"/>
                <a:gd name="T22" fmla="*/ 172 w 271"/>
                <a:gd name="T23" fmla="*/ 167 h 257"/>
                <a:gd name="T24" fmla="*/ 166 w 271"/>
                <a:gd name="T25" fmla="*/ 161 h 257"/>
                <a:gd name="T26" fmla="*/ 59 w 271"/>
                <a:gd name="T27" fmla="*/ 161 h 257"/>
                <a:gd name="T28" fmla="*/ 53 w 271"/>
                <a:gd name="T29" fmla="*/ 167 h 257"/>
                <a:gd name="T30" fmla="*/ 53 w 271"/>
                <a:gd name="T31" fmla="*/ 177 h 257"/>
                <a:gd name="T32" fmla="*/ 16 w 271"/>
                <a:gd name="T33" fmla="*/ 148 h 257"/>
                <a:gd name="T34" fmla="*/ 53 w 271"/>
                <a:gd name="T35" fmla="*/ 120 h 257"/>
                <a:gd name="T36" fmla="*/ 53 w 271"/>
                <a:gd name="T37" fmla="*/ 130 h 257"/>
                <a:gd name="T38" fmla="*/ 59 w 271"/>
                <a:gd name="T39" fmla="*/ 136 h 257"/>
                <a:gd name="T40" fmla="*/ 206 w 271"/>
                <a:gd name="T41" fmla="*/ 136 h 257"/>
                <a:gd name="T42" fmla="*/ 206 w 271"/>
                <a:gd name="T43" fmla="*/ 153 h 257"/>
                <a:gd name="T44" fmla="*/ 210 w 271"/>
                <a:gd name="T45" fmla="*/ 158 h 257"/>
                <a:gd name="T46" fmla="*/ 216 w 271"/>
                <a:gd name="T47" fmla="*/ 158 h 257"/>
                <a:gd name="T48" fmla="*/ 269 w 271"/>
                <a:gd name="T49" fmla="*/ 117 h 257"/>
                <a:gd name="T50" fmla="*/ 271 w 271"/>
                <a:gd name="T51" fmla="*/ 112 h 257"/>
                <a:gd name="T52" fmla="*/ 269 w 271"/>
                <a:gd name="T53" fmla="*/ 107 h 257"/>
                <a:gd name="T54" fmla="*/ 216 w 271"/>
                <a:gd name="T55" fmla="*/ 66 h 257"/>
                <a:gd name="T56" fmla="*/ 210 w 271"/>
                <a:gd name="T57" fmla="*/ 65 h 257"/>
                <a:gd name="T58" fmla="*/ 206 w 271"/>
                <a:gd name="T59" fmla="*/ 71 h 257"/>
                <a:gd name="T60" fmla="*/ 206 w 271"/>
                <a:gd name="T61" fmla="*/ 88 h 257"/>
                <a:gd name="T62" fmla="*/ 112 w 271"/>
                <a:gd name="T63" fmla="*/ 88 h 257"/>
                <a:gd name="T64" fmla="*/ 112 w 271"/>
                <a:gd name="T65" fmla="*/ 42 h 257"/>
                <a:gd name="T66" fmla="*/ 127 w 271"/>
                <a:gd name="T67" fmla="*/ 21 h 257"/>
                <a:gd name="T68" fmla="*/ 106 w 271"/>
                <a:gd name="T69" fmla="*/ 0 h 257"/>
                <a:gd name="T70" fmla="*/ 84 w 271"/>
                <a:gd name="T71" fmla="*/ 21 h 257"/>
                <a:gd name="T72" fmla="*/ 100 w 271"/>
                <a:gd name="T73" fmla="*/ 42 h 257"/>
                <a:gd name="T74" fmla="*/ 100 w 271"/>
                <a:gd name="T75" fmla="*/ 94 h 257"/>
                <a:gd name="T76" fmla="*/ 106 w 271"/>
                <a:gd name="T77" fmla="*/ 100 h 257"/>
                <a:gd name="T78" fmla="*/ 212 w 271"/>
                <a:gd name="T79" fmla="*/ 100 h 257"/>
                <a:gd name="T80" fmla="*/ 218 w 271"/>
                <a:gd name="T81" fmla="*/ 94 h 257"/>
                <a:gd name="T82" fmla="*/ 218 w 271"/>
                <a:gd name="T83" fmla="*/ 83 h 257"/>
                <a:gd name="T84" fmla="*/ 256 w 271"/>
                <a:gd name="T85" fmla="*/ 112 h 257"/>
                <a:gd name="T86" fmla="*/ 218 w 271"/>
                <a:gd name="T87" fmla="*/ 141 h 257"/>
                <a:gd name="T88" fmla="*/ 218 w 271"/>
                <a:gd name="T89" fmla="*/ 130 h 257"/>
                <a:gd name="T90" fmla="*/ 212 w 271"/>
                <a:gd name="T91" fmla="*/ 124 h 257"/>
                <a:gd name="T92" fmla="*/ 65 w 271"/>
                <a:gd name="T93" fmla="*/ 124 h 257"/>
                <a:gd name="T94" fmla="*/ 65 w 271"/>
                <a:gd name="T95" fmla="*/ 107 h 257"/>
                <a:gd name="T96" fmla="*/ 62 w 271"/>
                <a:gd name="T97" fmla="*/ 102 h 257"/>
                <a:gd name="T98" fmla="*/ 55 w 271"/>
                <a:gd name="T99" fmla="*/ 103 h 257"/>
                <a:gd name="T100" fmla="*/ 3 w 271"/>
                <a:gd name="T101" fmla="*/ 144 h 257"/>
                <a:gd name="T102" fmla="*/ 0 w 271"/>
                <a:gd name="T103" fmla="*/ 148 h 257"/>
                <a:gd name="T104" fmla="*/ 3 w 271"/>
                <a:gd name="T105" fmla="*/ 153 h 257"/>
                <a:gd name="T106" fmla="*/ 175 w 271"/>
                <a:gd name="T107" fmla="*/ 236 h 257"/>
                <a:gd name="T108" fmla="*/ 165 w 271"/>
                <a:gd name="T109" fmla="*/ 245 h 257"/>
                <a:gd name="T110" fmla="*/ 156 w 271"/>
                <a:gd name="T111" fmla="*/ 236 h 257"/>
                <a:gd name="T112" fmla="*/ 165 w 271"/>
                <a:gd name="T113" fmla="*/ 227 h 257"/>
                <a:gd name="T114" fmla="*/ 175 w 271"/>
                <a:gd name="T115" fmla="*/ 236 h 257"/>
                <a:gd name="T116" fmla="*/ 96 w 271"/>
                <a:gd name="T117" fmla="*/ 21 h 257"/>
                <a:gd name="T118" fmla="*/ 106 w 271"/>
                <a:gd name="T119" fmla="*/ 12 h 257"/>
                <a:gd name="T120" fmla="*/ 115 w 271"/>
                <a:gd name="T121" fmla="*/ 21 h 257"/>
                <a:gd name="T122" fmla="*/ 106 w 271"/>
                <a:gd name="T123" fmla="*/ 31 h 257"/>
                <a:gd name="T124" fmla="*/ 96 w 271"/>
                <a:gd name="T125" fmla="*/ 21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1" h="257">
                  <a:moveTo>
                    <a:pt x="3" y="153"/>
                  </a:moveTo>
                  <a:cubicBezTo>
                    <a:pt x="55" y="194"/>
                    <a:pt x="55" y="194"/>
                    <a:pt x="55" y="194"/>
                  </a:cubicBezTo>
                  <a:cubicBezTo>
                    <a:pt x="57" y="196"/>
                    <a:pt x="60" y="196"/>
                    <a:pt x="62" y="195"/>
                  </a:cubicBezTo>
                  <a:cubicBezTo>
                    <a:pt x="64" y="194"/>
                    <a:pt x="65" y="192"/>
                    <a:pt x="65" y="189"/>
                  </a:cubicBezTo>
                  <a:cubicBezTo>
                    <a:pt x="65" y="173"/>
                    <a:pt x="65" y="173"/>
                    <a:pt x="65" y="173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0" y="215"/>
                    <a:pt x="160" y="215"/>
                    <a:pt x="160" y="215"/>
                  </a:cubicBezTo>
                  <a:cubicBezTo>
                    <a:pt x="151" y="218"/>
                    <a:pt x="144" y="226"/>
                    <a:pt x="144" y="236"/>
                  </a:cubicBezTo>
                  <a:cubicBezTo>
                    <a:pt x="144" y="248"/>
                    <a:pt x="153" y="257"/>
                    <a:pt x="165" y="257"/>
                  </a:cubicBezTo>
                  <a:cubicBezTo>
                    <a:pt x="177" y="257"/>
                    <a:pt x="187" y="248"/>
                    <a:pt x="187" y="236"/>
                  </a:cubicBezTo>
                  <a:cubicBezTo>
                    <a:pt x="187" y="226"/>
                    <a:pt x="180" y="219"/>
                    <a:pt x="172" y="216"/>
                  </a:cubicBezTo>
                  <a:cubicBezTo>
                    <a:pt x="172" y="167"/>
                    <a:pt x="172" y="167"/>
                    <a:pt x="172" y="167"/>
                  </a:cubicBezTo>
                  <a:cubicBezTo>
                    <a:pt x="172" y="163"/>
                    <a:pt x="169" y="161"/>
                    <a:pt x="166" y="161"/>
                  </a:cubicBezTo>
                  <a:cubicBezTo>
                    <a:pt x="59" y="161"/>
                    <a:pt x="59" y="161"/>
                    <a:pt x="59" y="161"/>
                  </a:cubicBezTo>
                  <a:cubicBezTo>
                    <a:pt x="56" y="161"/>
                    <a:pt x="53" y="163"/>
                    <a:pt x="53" y="167"/>
                  </a:cubicBezTo>
                  <a:cubicBezTo>
                    <a:pt x="53" y="177"/>
                    <a:pt x="53" y="177"/>
                    <a:pt x="53" y="177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53" y="120"/>
                    <a:pt x="53" y="120"/>
                    <a:pt x="53" y="120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53" y="133"/>
                    <a:pt x="56" y="136"/>
                    <a:pt x="59" y="136"/>
                  </a:cubicBezTo>
                  <a:cubicBezTo>
                    <a:pt x="206" y="136"/>
                    <a:pt x="206" y="136"/>
                    <a:pt x="206" y="136"/>
                  </a:cubicBezTo>
                  <a:cubicBezTo>
                    <a:pt x="206" y="153"/>
                    <a:pt x="206" y="153"/>
                    <a:pt x="206" y="153"/>
                  </a:cubicBezTo>
                  <a:cubicBezTo>
                    <a:pt x="206" y="155"/>
                    <a:pt x="208" y="157"/>
                    <a:pt x="210" y="158"/>
                  </a:cubicBezTo>
                  <a:cubicBezTo>
                    <a:pt x="212" y="159"/>
                    <a:pt x="214" y="159"/>
                    <a:pt x="216" y="158"/>
                  </a:cubicBezTo>
                  <a:cubicBezTo>
                    <a:pt x="269" y="117"/>
                    <a:pt x="269" y="117"/>
                    <a:pt x="269" y="117"/>
                  </a:cubicBezTo>
                  <a:cubicBezTo>
                    <a:pt x="270" y="115"/>
                    <a:pt x="271" y="114"/>
                    <a:pt x="271" y="112"/>
                  </a:cubicBezTo>
                  <a:cubicBezTo>
                    <a:pt x="271" y="110"/>
                    <a:pt x="270" y="108"/>
                    <a:pt x="269" y="107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4" y="65"/>
                    <a:pt x="212" y="64"/>
                    <a:pt x="210" y="65"/>
                  </a:cubicBezTo>
                  <a:cubicBezTo>
                    <a:pt x="208" y="66"/>
                    <a:pt x="206" y="69"/>
                    <a:pt x="206" y="71"/>
                  </a:cubicBezTo>
                  <a:cubicBezTo>
                    <a:pt x="206" y="88"/>
                    <a:pt x="206" y="88"/>
                    <a:pt x="206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21" y="39"/>
                    <a:pt x="127" y="31"/>
                    <a:pt x="127" y="21"/>
                  </a:cubicBezTo>
                  <a:cubicBezTo>
                    <a:pt x="127" y="9"/>
                    <a:pt x="118" y="0"/>
                    <a:pt x="106" y="0"/>
                  </a:cubicBezTo>
                  <a:cubicBezTo>
                    <a:pt x="94" y="0"/>
                    <a:pt x="84" y="9"/>
                    <a:pt x="84" y="21"/>
                  </a:cubicBezTo>
                  <a:cubicBezTo>
                    <a:pt x="84" y="31"/>
                    <a:pt x="91" y="39"/>
                    <a:pt x="100" y="42"/>
                  </a:cubicBezTo>
                  <a:cubicBezTo>
                    <a:pt x="100" y="94"/>
                    <a:pt x="100" y="94"/>
                    <a:pt x="100" y="94"/>
                  </a:cubicBezTo>
                  <a:cubicBezTo>
                    <a:pt x="100" y="97"/>
                    <a:pt x="102" y="100"/>
                    <a:pt x="106" y="100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16" y="100"/>
                    <a:pt x="218" y="97"/>
                    <a:pt x="218" y="94"/>
                  </a:cubicBezTo>
                  <a:cubicBezTo>
                    <a:pt x="218" y="83"/>
                    <a:pt x="218" y="83"/>
                    <a:pt x="218" y="83"/>
                  </a:cubicBezTo>
                  <a:cubicBezTo>
                    <a:pt x="256" y="112"/>
                    <a:pt x="256" y="112"/>
                    <a:pt x="256" y="112"/>
                  </a:cubicBezTo>
                  <a:cubicBezTo>
                    <a:pt x="218" y="141"/>
                    <a:pt x="218" y="141"/>
                    <a:pt x="218" y="141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8" y="127"/>
                    <a:pt x="216" y="124"/>
                    <a:pt x="212" y="124"/>
                  </a:cubicBezTo>
                  <a:cubicBezTo>
                    <a:pt x="65" y="124"/>
                    <a:pt x="65" y="124"/>
                    <a:pt x="65" y="124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65" y="105"/>
                    <a:pt x="64" y="103"/>
                    <a:pt x="62" y="102"/>
                  </a:cubicBezTo>
                  <a:cubicBezTo>
                    <a:pt x="60" y="101"/>
                    <a:pt x="57" y="101"/>
                    <a:pt x="55" y="103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1" y="145"/>
                    <a:pt x="0" y="147"/>
                    <a:pt x="0" y="148"/>
                  </a:cubicBezTo>
                  <a:cubicBezTo>
                    <a:pt x="0" y="150"/>
                    <a:pt x="1" y="152"/>
                    <a:pt x="3" y="153"/>
                  </a:cubicBezTo>
                  <a:close/>
                  <a:moveTo>
                    <a:pt x="175" y="236"/>
                  </a:moveTo>
                  <a:cubicBezTo>
                    <a:pt x="175" y="241"/>
                    <a:pt x="170" y="245"/>
                    <a:pt x="165" y="245"/>
                  </a:cubicBezTo>
                  <a:cubicBezTo>
                    <a:pt x="160" y="245"/>
                    <a:pt x="156" y="241"/>
                    <a:pt x="156" y="236"/>
                  </a:cubicBezTo>
                  <a:cubicBezTo>
                    <a:pt x="156" y="231"/>
                    <a:pt x="160" y="227"/>
                    <a:pt x="165" y="227"/>
                  </a:cubicBezTo>
                  <a:cubicBezTo>
                    <a:pt x="170" y="227"/>
                    <a:pt x="175" y="231"/>
                    <a:pt x="175" y="236"/>
                  </a:cubicBezTo>
                  <a:close/>
                  <a:moveTo>
                    <a:pt x="96" y="21"/>
                  </a:moveTo>
                  <a:cubicBezTo>
                    <a:pt x="96" y="16"/>
                    <a:pt x="101" y="12"/>
                    <a:pt x="106" y="12"/>
                  </a:cubicBezTo>
                  <a:cubicBezTo>
                    <a:pt x="111" y="12"/>
                    <a:pt x="115" y="16"/>
                    <a:pt x="115" y="21"/>
                  </a:cubicBezTo>
                  <a:cubicBezTo>
                    <a:pt x="115" y="26"/>
                    <a:pt x="111" y="31"/>
                    <a:pt x="106" y="31"/>
                  </a:cubicBezTo>
                  <a:cubicBezTo>
                    <a:pt x="101" y="31"/>
                    <a:pt x="96" y="26"/>
                    <a:pt x="96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26" name="Freeform 220">
              <a:extLst>
                <a:ext uri="{FF2B5EF4-FFF2-40B4-BE49-F238E27FC236}">
                  <a16:creationId xmlns:a16="http://schemas.microsoft.com/office/drawing/2014/main" id="{67E0D902-A6EF-43DB-A36A-6C97FE7428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837" y="-2619376"/>
              <a:ext cx="490538" cy="501650"/>
            </a:xfrm>
            <a:custGeom>
              <a:avLst/>
              <a:gdLst>
                <a:gd name="T0" fmla="*/ 287 w 309"/>
                <a:gd name="T1" fmla="*/ 316 h 316"/>
                <a:gd name="T2" fmla="*/ 309 w 309"/>
                <a:gd name="T3" fmla="*/ 293 h 316"/>
                <a:gd name="T4" fmla="*/ 309 w 309"/>
                <a:gd name="T5" fmla="*/ 23 h 316"/>
                <a:gd name="T6" fmla="*/ 287 w 309"/>
                <a:gd name="T7" fmla="*/ 0 h 316"/>
                <a:gd name="T8" fmla="*/ 24 w 309"/>
                <a:gd name="T9" fmla="*/ 0 h 316"/>
                <a:gd name="T10" fmla="*/ 0 w 309"/>
                <a:gd name="T11" fmla="*/ 24 h 316"/>
                <a:gd name="T12" fmla="*/ 0 w 309"/>
                <a:gd name="T13" fmla="*/ 293 h 316"/>
                <a:gd name="T14" fmla="*/ 23 w 309"/>
                <a:gd name="T15" fmla="*/ 316 h 316"/>
                <a:gd name="T16" fmla="*/ 287 w 309"/>
                <a:gd name="T17" fmla="*/ 316 h 316"/>
                <a:gd name="T18" fmla="*/ 17 w 309"/>
                <a:gd name="T19" fmla="*/ 31 h 316"/>
                <a:gd name="T20" fmla="*/ 31 w 309"/>
                <a:gd name="T21" fmla="*/ 17 h 316"/>
                <a:gd name="T22" fmla="*/ 280 w 309"/>
                <a:gd name="T23" fmla="*/ 17 h 316"/>
                <a:gd name="T24" fmla="*/ 292 w 309"/>
                <a:gd name="T25" fmla="*/ 30 h 316"/>
                <a:gd name="T26" fmla="*/ 292 w 309"/>
                <a:gd name="T27" fmla="*/ 286 h 316"/>
                <a:gd name="T28" fmla="*/ 280 w 309"/>
                <a:gd name="T29" fmla="*/ 299 h 316"/>
                <a:gd name="T30" fmla="*/ 30 w 309"/>
                <a:gd name="T31" fmla="*/ 299 h 316"/>
                <a:gd name="T32" fmla="*/ 17 w 309"/>
                <a:gd name="T33" fmla="*/ 286 h 316"/>
                <a:gd name="T34" fmla="*/ 17 w 309"/>
                <a:gd name="T35" fmla="*/ 3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9" h="316">
                  <a:moveTo>
                    <a:pt x="287" y="316"/>
                  </a:moveTo>
                  <a:lnTo>
                    <a:pt x="309" y="293"/>
                  </a:lnTo>
                  <a:lnTo>
                    <a:pt x="309" y="23"/>
                  </a:lnTo>
                  <a:lnTo>
                    <a:pt x="287" y="0"/>
                  </a:lnTo>
                  <a:lnTo>
                    <a:pt x="24" y="0"/>
                  </a:lnTo>
                  <a:lnTo>
                    <a:pt x="0" y="24"/>
                  </a:lnTo>
                  <a:lnTo>
                    <a:pt x="0" y="293"/>
                  </a:lnTo>
                  <a:lnTo>
                    <a:pt x="23" y="316"/>
                  </a:lnTo>
                  <a:lnTo>
                    <a:pt x="287" y="316"/>
                  </a:lnTo>
                  <a:close/>
                  <a:moveTo>
                    <a:pt x="17" y="31"/>
                  </a:moveTo>
                  <a:lnTo>
                    <a:pt x="31" y="17"/>
                  </a:lnTo>
                  <a:lnTo>
                    <a:pt x="280" y="17"/>
                  </a:lnTo>
                  <a:lnTo>
                    <a:pt x="292" y="30"/>
                  </a:lnTo>
                  <a:lnTo>
                    <a:pt x="292" y="286"/>
                  </a:lnTo>
                  <a:lnTo>
                    <a:pt x="280" y="299"/>
                  </a:lnTo>
                  <a:lnTo>
                    <a:pt x="30" y="299"/>
                  </a:lnTo>
                  <a:lnTo>
                    <a:pt x="17" y="286"/>
                  </a:lnTo>
                  <a:lnTo>
                    <a:pt x="17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  <p:sp>
          <p:nvSpPr>
            <p:cNvPr id="27" name="Freeform 221">
              <a:extLst>
                <a:ext uri="{FF2B5EF4-FFF2-40B4-BE49-F238E27FC236}">
                  <a16:creationId xmlns:a16="http://schemas.microsoft.com/office/drawing/2014/main" id="{BFFB6E0E-7CE7-4CA3-8E7B-F172125F1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812" y="-2562226"/>
              <a:ext cx="385763" cy="387350"/>
            </a:xfrm>
            <a:custGeom>
              <a:avLst/>
              <a:gdLst>
                <a:gd name="T0" fmla="*/ 243 w 243"/>
                <a:gd name="T1" fmla="*/ 0 h 244"/>
                <a:gd name="T2" fmla="*/ 0 w 243"/>
                <a:gd name="T3" fmla="*/ 0 h 244"/>
                <a:gd name="T4" fmla="*/ 0 w 243"/>
                <a:gd name="T5" fmla="*/ 244 h 244"/>
                <a:gd name="T6" fmla="*/ 243 w 243"/>
                <a:gd name="T7" fmla="*/ 244 h 244"/>
                <a:gd name="T8" fmla="*/ 243 w 243"/>
                <a:gd name="T9" fmla="*/ 0 h 244"/>
                <a:gd name="T10" fmla="*/ 234 w 243"/>
                <a:gd name="T11" fmla="*/ 236 h 244"/>
                <a:gd name="T12" fmla="*/ 8 w 243"/>
                <a:gd name="T13" fmla="*/ 236 h 244"/>
                <a:gd name="T14" fmla="*/ 8 w 243"/>
                <a:gd name="T15" fmla="*/ 8 h 244"/>
                <a:gd name="T16" fmla="*/ 234 w 243"/>
                <a:gd name="T17" fmla="*/ 8 h 244"/>
                <a:gd name="T18" fmla="*/ 234 w 243"/>
                <a:gd name="T19" fmla="*/ 23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244">
                  <a:moveTo>
                    <a:pt x="243" y="0"/>
                  </a:moveTo>
                  <a:lnTo>
                    <a:pt x="0" y="0"/>
                  </a:lnTo>
                  <a:lnTo>
                    <a:pt x="0" y="244"/>
                  </a:lnTo>
                  <a:lnTo>
                    <a:pt x="243" y="244"/>
                  </a:lnTo>
                  <a:lnTo>
                    <a:pt x="243" y="0"/>
                  </a:lnTo>
                  <a:close/>
                  <a:moveTo>
                    <a:pt x="234" y="236"/>
                  </a:moveTo>
                  <a:lnTo>
                    <a:pt x="8" y="236"/>
                  </a:lnTo>
                  <a:lnTo>
                    <a:pt x="8" y="8"/>
                  </a:lnTo>
                  <a:lnTo>
                    <a:pt x="234" y="8"/>
                  </a:lnTo>
                  <a:lnTo>
                    <a:pt x="234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F6369"/>
                </a:solidFill>
                <a:latin typeface="Arial"/>
              </a:endParaRPr>
            </a:p>
          </p:txBody>
        </p: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4B4F4595-8666-4033-9719-F878C3EEBA0E}"/>
              </a:ext>
            </a:extLst>
          </p:cNvPr>
          <p:cNvCxnSpPr/>
          <p:nvPr/>
        </p:nvCxnSpPr>
        <p:spPr>
          <a:xfrm>
            <a:off x="3741142" y="1927334"/>
            <a:ext cx="0" cy="3539018"/>
          </a:xfrm>
          <a:prstGeom prst="straightConnector1">
            <a:avLst/>
          </a:prstGeom>
          <a:ln w="50800">
            <a:solidFill>
              <a:srgbClr val="88D2E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3D3A816-E67B-4F31-933F-DE85FDF17271}"/>
              </a:ext>
            </a:extLst>
          </p:cNvPr>
          <p:cNvCxnSpPr>
            <a:cxnSpLocks/>
          </p:cNvCxnSpPr>
          <p:nvPr/>
        </p:nvCxnSpPr>
        <p:spPr>
          <a:xfrm>
            <a:off x="7906167" y="4502882"/>
            <a:ext cx="0" cy="949013"/>
          </a:xfrm>
          <a:prstGeom prst="straightConnector1">
            <a:avLst/>
          </a:prstGeom>
          <a:ln w="50800">
            <a:solidFill>
              <a:srgbClr val="37AFC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ADC1860-87CB-44C8-A44D-58194B7C8D57}"/>
              </a:ext>
            </a:extLst>
          </p:cNvPr>
          <p:cNvSpPr txBox="1"/>
          <p:nvPr/>
        </p:nvSpPr>
        <p:spPr>
          <a:xfrm>
            <a:off x="5690645" y="822599"/>
            <a:ext cx="10064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F6369"/>
                </a:solidFill>
                <a:latin typeface="Gotham Medium" pitchFamily="50" charset="0"/>
              </a:rPr>
              <a:t>NetOps.ai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BEA924C-FCC2-4016-8688-52B59D82A9F4}"/>
              </a:ext>
            </a:extLst>
          </p:cNvPr>
          <p:cNvSpPr txBox="1"/>
          <p:nvPr/>
        </p:nvSpPr>
        <p:spPr>
          <a:xfrm>
            <a:off x="7629791" y="2517288"/>
            <a:ext cx="16853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F6369"/>
                </a:solidFill>
                <a:latin typeface="Gotham Medium" pitchFamily="50" charset="0"/>
              </a:rPr>
              <a:t>4G and 5G Test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513D113-5A5B-435E-9C95-B20090CDF0EA}"/>
              </a:ext>
            </a:extLst>
          </p:cNvPr>
          <p:cNvSpPr txBox="1"/>
          <p:nvPr/>
        </p:nvSpPr>
        <p:spPr>
          <a:xfrm>
            <a:off x="5892452" y="5168188"/>
            <a:ext cx="6046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F6369"/>
                </a:solidFill>
                <a:latin typeface="Gotham Medium" pitchFamily="50" charset="0"/>
              </a:rPr>
              <a:t>S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622ADDD-C35B-43E2-B768-284A607608BD}"/>
              </a:ext>
            </a:extLst>
          </p:cNvPr>
          <p:cNvSpPr txBox="1"/>
          <p:nvPr/>
        </p:nvSpPr>
        <p:spPr>
          <a:xfrm>
            <a:off x="4300281" y="5535530"/>
            <a:ext cx="54053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171717"/>
                </a:solidFill>
                <a:latin typeface="Gotham Medium" pitchFamily="50" charset="0"/>
              </a:rPr>
              <a:t>NVFI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E28EB0-0FB7-4D68-9C31-48F0BDD1C25F}"/>
              </a:ext>
            </a:extLst>
          </p:cNvPr>
          <p:cNvSpPr txBox="1"/>
          <p:nvPr/>
        </p:nvSpPr>
        <p:spPr>
          <a:xfrm>
            <a:off x="3118012" y="6187459"/>
            <a:ext cx="88036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171717"/>
                </a:solidFill>
                <a:latin typeface="Gotham Medium" pitchFamily="50" charset="0"/>
              </a:rPr>
              <a:t>Network VNF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6C94352-A268-4941-AFD7-63E74E146B02}"/>
              </a:ext>
            </a:extLst>
          </p:cNvPr>
          <p:cNvSpPr txBox="1"/>
          <p:nvPr/>
        </p:nvSpPr>
        <p:spPr>
          <a:xfrm>
            <a:off x="4147981" y="6193896"/>
            <a:ext cx="9092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171717"/>
                </a:solidFill>
                <a:latin typeface="Gotham Medium" pitchFamily="50" charset="0"/>
              </a:rPr>
              <a:t>Compute VNF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35B62E1-6356-4B1E-AAF1-054A3C83732F}"/>
              </a:ext>
            </a:extLst>
          </p:cNvPr>
          <p:cNvSpPr txBox="1"/>
          <p:nvPr/>
        </p:nvSpPr>
        <p:spPr>
          <a:xfrm>
            <a:off x="5219015" y="6187459"/>
            <a:ext cx="7328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171717"/>
                </a:solidFill>
                <a:latin typeface="Gotham Medium" pitchFamily="50" charset="0"/>
              </a:rPr>
              <a:t>Other VNF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C321606-D1DD-4670-B390-18982287E9BE}"/>
              </a:ext>
            </a:extLst>
          </p:cNvPr>
          <p:cNvGrpSpPr/>
          <p:nvPr/>
        </p:nvGrpSpPr>
        <p:grpSpPr>
          <a:xfrm>
            <a:off x="7576543" y="1926934"/>
            <a:ext cx="856568" cy="1004321"/>
            <a:chOff x="7247222" y="1634287"/>
            <a:chExt cx="856568" cy="626516"/>
          </a:xfrm>
        </p:grpSpPr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B62A9908-A67E-4B8B-8484-55602B897C6F}"/>
                </a:ext>
              </a:extLst>
            </p:cNvPr>
            <p:cNvCxnSpPr/>
            <p:nvPr/>
          </p:nvCxnSpPr>
          <p:spPr>
            <a:xfrm>
              <a:off x="7247222" y="1634287"/>
              <a:ext cx="0" cy="626516"/>
            </a:xfrm>
            <a:prstGeom prst="straightConnector1">
              <a:avLst/>
            </a:prstGeom>
            <a:ln w="50800">
              <a:solidFill>
                <a:srgbClr val="37AFC8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5B67B76-E6BD-4F92-AACA-DB479AE946FC}"/>
                </a:ext>
              </a:extLst>
            </p:cNvPr>
            <p:cNvSpPr txBox="1"/>
            <p:nvPr/>
          </p:nvSpPr>
          <p:spPr>
            <a:xfrm>
              <a:off x="7285615" y="1836132"/>
              <a:ext cx="818175" cy="1894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rgbClr val="171717"/>
                  </a:solidFill>
                  <a:latin typeface="Gotham Medium" pitchFamily="50" charset="0"/>
                </a:rPr>
                <a:t>REST API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B021948E-8175-4FB7-A425-CDFE376B0AEB}"/>
              </a:ext>
            </a:extLst>
          </p:cNvPr>
          <p:cNvSpPr txBox="1"/>
          <p:nvPr/>
        </p:nvSpPr>
        <p:spPr>
          <a:xfrm>
            <a:off x="7906167" y="5033036"/>
            <a:ext cx="11608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171717"/>
                </a:solidFill>
                <a:latin typeface="Gotham Medium" pitchFamily="50" charset="0"/>
              </a:rPr>
              <a:t>Interconnec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A091A53-29A9-421C-B581-ED56643ADFC4}"/>
              </a:ext>
            </a:extLst>
          </p:cNvPr>
          <p:cNvSpPr txBox="1"/>
          <p:nvPr/>
        </p:nvSpPr>
        <p:spPr>
          <a:xfrm>
            <a:off x="6746671" y="5778540"/>
            <a:ext cx="11608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171717"/>
                </a:solidFill>
                <a:latin typeface="Gotham Medium" pitchFamily="50" charset="0"/>
              </a:rPr>
              <a:t>Interconnec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8F76346-2327-4281-956A-CDD6053C9E77}"/>
              </a:ext>
            </a:extLst>
          </p:cNvPr>
          <p:cNvSpPr txBox="1"/>
          <p:nvPr/>
        </p:nvSpPr>
        <p:spPr>
          <a:xfrm>
            <a:off x="8329271" y="5468363"/>
            <a:ext cx="6864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171717"/>
                </a:solidFill>
                <a:latin typeface="Gotham Medium" pitchFamily="50" charset="0"/>
              </a:rPr>
              <a:t>Switches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A7EBAD7-5A63-425B-BC01-65F260E9D8F7}"/>
              </a:ext>
            </a:extLst>
          </p:cNvPr>
          <p:cNvCxnSpPr>
            <a:stCxn id="9" idx="3"/>
          </p:cNvCxnSpPr>
          <p:nvPr/>
        </p:nvCxnSpPr>
        <p:spPr>
          <a:xfrm>
            <a:off x="6064935" y="5995413"/>
            <a:ext cx="2305364" cy="14403"/>
          </a:xfrm>
          <a:prstGeom prst="straightConnector1">
            <a:avLst/>
          </a:prstGeom>
          <a:ln w="31750">
            <a:solidFill>
              <a:srgbClr val="5F636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>
            <a:extLst>
              <a:ext uri="{FF2B5EF4-FFF2-40B4-BE49-F238E27FC236}">
                <a16:creationId xmlns:a16="http://schemas.microsoft.com/office/drawing/2014/main" id="{D403536E-64B8-4BC8-9686-9969D22CB6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0759" y="2912349"/>
            <a:ext cx="1817023" cy="1590533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23FA4F4-369B-4B09-AB2D-AEF1805715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0518" y="3110235"/>
            <a:ext cx="2474866" cy="1297894"/>
          </a:xfrm>
          <a:prstGeom prst="rect">
            <a:avLst/>
          </a:prstGeom>
          <a:ln>
            <a:noFill/>
          </a:ln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28A6B344-1691-4833-9A61-4A168FF5E853}"/>
              </a:ext>
            </a:extLst>
          </p:cNvPr>
          <p:cNvGrpSpPr/>
          <p:nvPr/>
        </p:nvGrpSpPr>
        <p:grpSpPr>
          <a:xfrm>
            <a:off x="4771275" y="1957801"/>
            <a:ext cx="845482" cy="973454"/>
            <a:chOff x="6512280" y="1634287"/>
            <a:chExt cx="845482" cy="626516"/>
          </a:xfrm>
        </p:grpSpPr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EEB71584-070A-4539-BBB5-1E3FE685CC58}"/>
                </a:ext>
              </a:extLst>
            </p:cNvPr>
            <p:cNvCxnSpPr/>
            <p:nvPr/>
          </p:nvCxnSpPr>
          <p:spPr>
            <a:xfrm>
              <a:off x="6512280" y="1634287"/>
              <a:ext cx="0" cy="626516"/>
            </a:xfrm>
            <a:prstGeom prst="straightConnector1">
              <a:avLst/>
            </a:prstGeom>
            <a:ln w="50800">
              <a:solidFill>
                <a:srgbClr val="37AFC8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0C8FA9A-D34A-454A-A8C8-A0FAFE6B5E89}"/>
                </a:ext>
              </a:extLst>
            </p:cNvPr>
            <p:cNvSpPr txBox="1"/>
            <p:nvPr/>
          </p:nvSpPr>
          <p:spPr>
            <a:xfrm>
              <a:off x="6539587" y="1820472"/>
              <a:ext cx="818175" cy="1894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rgbClr val="171717"/>
                  </a:solidFill>
                  <a:latin typeface="Gotham Medium" pitchFamily="50" charset="0"/>
                </a:rPr>
                <a:t>REST API</a:t>
              </a:r>
            </a:p>
          </p:txBody>
        </p:sp>
      </p:grp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F1409B98-58DF-46A1-A467-FA7A27E73777}"/>
              </a:ext>
            </a:extLst>
          </p:cNvPr>
          <p:cNvCxnSpPr>
            <a:cxnSpLocks/>
          </p:cNvCxnSpPr>
          <p:nvPr/>
        </p:nvCxnSpPr>
        <p:spPr>
          <a:xfrm>
            <a:off x="5506217" y="4507982"/>
            <a:ext cx="0" cy="974820"/>
          </a:xfrm>
          <a:prstGeom prst="straightConnector1">
            <a:avLst/>
          </a:prstGeom>
          <a:ln w="50800">
            <a:solidFill>
              <a:srgbClr val="37AFC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9E720A0A-AA69-46A5-A5D3-09E3820A4C91}"/>
              </a:ext>
            </a:extLst>
          </p:cNvPr>
          <p:cNvSpPr txBox="1"/>
          <p:nvPr/>
        </p:nvSpPr>
        <p:spPr>
          <a:xfrm>
            <a:off x="4540459" y="5037667"/>
            <a:ext cx="11608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171717"/>
                </a:solidFill>
                <a:latin typeface="Gotham Medium" pitchFamily="50" charset="0"/>
              </a:rPr>
              <a:t>Interconnects</a:t>
            </a:r>
          </a:p>
        </p:txBody>
      </p:sp>
      <p:sp>
        <p:nvSpPr>
          <p:cNvPr id="51" name="Left Brace 50">
            <a:extLst>
              <a:ext uri="{FF2B5EF4-FFF2-40B4-BE49-F238E27FC236}">
                <a16:creationId xmlns:a16="http://schemas.microsoft.com/office/drawing/2014/main" id="{E14A81D9-0FBE-4BF6-8572-4691ADAF4B15}"/>
              </a:ext>
            </a:extLst>
          </p:cNvPr>
          <p:cNvSpPr/>
          <p:nvPr/>
        </p:nvSpPr>
        <p:spPr>
          <a:xfrm>
            <a:off x="1900332" y="831564"/>
            <a:ext cx="565091" cy="603540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FEA8315-FD23-4D6D-8BAD-5827D7D2A0C8}"/>
              </a:ext>
            </a:extLst>
          </p:cNvPr>
          <p:cNvSpPr txBox="1"/>
          <p:nvPr/>
        </p:nvSpPr>
        <p:spPr>
          <a:xfrm>
            <a:off x="385559" y="3517133"/>
            <a:ext cx="14787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ypically all in</a:t>
            </a:r>
          </a:p>
          <a:p>
            <a:r>
              <a:rPr lang="en-US" dirty="0"/>
              <a:t>one location</a:t>
            </a:r>
          </a:p>
        </p:txBody>
      </p:sp>
      <p:sp>
        <p:nvSpPr>
          <p:cNvPr id="53" name="Right Brace 52">
            <a:extLst>
              <a:ext uri="{FF2B5EF4-FFF2-40B4-BE49-F238E27FC236}">
                <a16:creationId xmlns:a16="http://schemas.microsoft.com/office/drawing/2014/main" id="{859791D2-952D-4576-8BD2-E93B17A22C96}"/>
              </a:ext>
            </a:extLst>
          </p:cNvPr>
          <p:cNvSpPr/>
          <p:nvPr/>
        </p:nvSpPr>
        <p:spPr>
          <a:xfrm>
            <a:off x="9586494" y="2549492"/>
            <a:ext cx="1060346" cy="41778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8F657DE-9869-43F6-B318-FF3A3F99F2DA}"/>
              </a:ext>
            </a:extLst>
          </p:cNvPr>
          <p:cNvSpPr txBox="1"/>
          <p:nvPr/>
        </p:nvSpPr>
        <p:spPr>
          <a:xfrm>
            <a:off x="10821404" y="3752416"/>
            <a:ext cx="106034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eep tools and SUT in same environment</a:t>
            </a:r>
          </a:p>
        </p:txBody>
      </p:sp>
      <p:sp>
        <p:nvSpPr>
          <p:cNvPr id="55" name="Right Brace 54">
            <a:extLst>
              <a:ext uri="{FF2B5EF4-FFF2-40B4-BE49-F238E27FC236}">
                <a16:creationId xmlns:a16="http://schemas.microsoft.com/office/drawing/2014/main" id="{5BEEA315-2917-4907-A411-78DA01FA0F7B}"/>
              </a:ext>
            </a:extLst>
          </p:cNvPr>
          <p:cNvSpPr/>
          <p:nvPr/>
        </p:nvSpPr>
        <p:spPr>
          <a:xfrm>
            <a:off x="9561309" y="823409"/>
            <a:ext cx="1141053" cy="1431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740FE60-8EE0-452E-B0AD-C65E4F4DDAD6}"/>
              </a:ext>
            </a:extLst>
          </p:cNvPr>
          <p:cNvSpPr txBox="1"/>
          <p:nvPr/>
        </p:nvSpPr>
        <p:spPr>
          <a:xfrm>
            <a:off x="10722397" y="1030011"/>
            <a:ext cx="10603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lose to User Access</a:t>
            </a:r>
          </a:p>
          <a:p>
            <a:r>
              <a:rPr lang="en-US" dirty="0"/>
              <a:t>GUI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F400D09-EE22-4E69-9F44-3CB3CB264804}"/>
              </a:ext>
            </a:extLst>
          </p:cNvPr>
          <p:cNvSpPr txBox="1"/>
          <p:nvPr/>
        </p:nvSpPr>
        <p:spPr>
          <a:xfrm>
            <a:off x="5149646" y="2508928"/>
            <a:ext cx="12028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F6369"/>
                </a:solidFill>
                <a:latin typeface="Gotham Medium" pitchFamily="50" charset="0"/>
              </a:rPr>
              <a:t>NFVi Testing</a:t>
            </a:r>
          </a:p>
        </p:txBody>
      </p:sp>
    </p:spTree>
    <p:extLst>
      <p:ext uri="{BB962C8B-B14F-4D97-AF65-F5344CB8AC3E}">
        <p14:creationId xmlns:p14="http://schemas.microsoft.com/office/powerpoint/2010/main" val="1793464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8E7BA8-83E9-4EFA-A32D-198E339734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65858" y="2073824"/>
            <a:ext cx="3930306" cy="4479059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edium Deployment Licensing:</a:t>
            </a:r>
          </a:p>
          <a:p>
            <a:pPr lvl="2"/>
            <a:r>
              <a:rPr lang="en-US" b="1" dirty="0"/>
              <a:t>4 </a:t>
            </a:r>
            <a:r>
              <a:rPr lang="en-US" dirty="0"/>
              <a:t>parallel executions ;</a:t>
            </a:r>
          </a:p>
          <a:p>
            <a:pPr lvl="2"/>
            <a:r>
              <a:rPr lang="en-US" dirty="0"/>
              <a:t>Limits per Test – up to 512 vCPU and 2040GB RAM</a:t>
            </a:r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C89E41-5B65-4877-8BA5-A92226582E8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201" y="1469303"/>
            <a:ext cx="8000373" cy="4479059"/>
          </a:xfrm>
        </p:spPr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Virtual Machines :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Cloud PEAK Appliance; 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Workload Im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4428B0-C1C6-4F17-9AE7-7949B9EA98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D21C40E-3097-4201-B337-4696B34B4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Peak Deploy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B9FA04-BE63-4406-A0AE-8BA04E0D67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206" y="4171794"/>
            <a:ext cx="7218057" cy="21393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B119D39-C7D8-4BC6-9A07-91A5CCAE9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206" y="2384724"/>
            <a:ext cx="7218057" cy="1619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237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85184-B02C-4528-BC0F-A74784E963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201" y="1316495"/>
            <a:ext cx="8810961" cy="4479059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US" sz="1800" dirty="0"/>
              <a:t>Prepare VM Images </a:t>
            </a:r>
          </a:p>
          <a:p>
            <a:pPr marL="457200" indent="-457200">
              <a:buAutoNum type="arabicPeriod"/>
            </a:pPr>
            <a:r>
              <a:rPr lang="en-US" sz="1800" dirty="0"/>
              <a:t>Download </a:t>
            </a:r>
            <a:r>
              <a:rPr lang="en-US" sz="1800" dirty="0" err="1"/>
              <a:t>CloudPeak</a:t>
            </a:r>
            <a:r>
              <a:rPr lang="en-US" sz="1800" dirty="0"/>
              <a:t> VM Images from our Support Portal </a:t>
            </a:r>
          </a:p>
          <a:p>
            <a:pPr marL="457200" indent="-457200">
              <a:buAutoNum type="arabicPeriod"/>
            </a:pPr>
            <a:r>
              <a:rPr lang="en-US" sz="1800" dirty="0">
                <a:hlinkClick r:id="rId2"/>
              </a:rPr>
              <a:t>https://support.ixiacom.com/software-downloads/234082</a:t>
            </a:r>
            <a:endParaRPr lang="en-US" sz="1800" dirty="0"/>
          </a:p>
          <a:p>
            <a:pPr marL="457200" indent="-457200">
              <a:buAutoNum type="arabicPeriod"/>
            </a:pPr>
            <a:r>
              <a:rPr lang="en-US" sz="1800" dirty="0"/>
              <a:t>Deploy VM on the Public/ Private Cloud infrastructure using our Install Guide</a:t>
            </a:r>
          </a:p>
          <a:p>
            <a:pPr marL="457200" indent="-457200">
              <a:buAutoNum type="arabicPeriod"/>
            </a:pPr>
            <a:r>
              <a:rPr lang="en-US" sz="1800" dirty="0"/>
              <a:t>Access Management console via Web Ui</a:t>
            </a:r>
          </a:p>
          <a:p>
            <a:pPr marL="457200" indent="-457200">
              <a:buAutoNum type="arabicPeriod"/>
            </a:pPr>
            <a:r>
              <a:rPr lang="en-US" sz="1800" dirty="0"/>
              <a:t>Product Licensing</a:t>
            </a:r>
          </a:p>
          <a:p>
            <a:pPr marL="457200" indent="-457200">
              <a:buAutoNum type="arabicPeriod"/>
            </a:pPr>
            <a:r>
              <a:rPr lang="en-US" sz="1800" dirty="0"/>
              <a:t>Integrate Cloud Peak with NFVI Infrastructure</a:t>
            </a:r>
          </a:p>
          <a:p>
            <a:pPr marL="457200" indent="-457200">
              <a:buAutoNum type="arabicPeriod"/>
            </a:pPr>
            <a:r>
              <a:rPr lang="en-US" sz="1800" dirty="0"/>
              <a:t>Execute Benchmark Tests </a:t>
            </a:r>
          </a:p>
          <a:p>
            <a:pPr marL="457200" indent="-457200">
              <a:buAutoNum type="arabicPeriod"/>
            </a:pPr>
            <a:r>
              <a:rPr lang="en-US" sz="1800" dirty="0"/>
              <a:t>Add Test Modules for 4G /5G Testing and integrate Test Module with  </a:t>
            </a:r>
            <a:r>
              <a:rPr lang="en-US" sz="1800" dirty="0" err="1"/>
              <a:t>Ixload</a:t>
            </a:r>
            <a:r>
              <a:rPr lang="en-US" sz="1800" dirty="0"/>
              <a:t> VE and 5G </a:t>
            </a:r>
            <a:r>
              <a:rPr lang="en-US" sz="1800" dirty="0" err="1"/>
              <a:t>LoadCore</a:t>
            </a:r>
            <a:endParaRPr lang="en-US" sz="1800" dirty="0"/>
          </a:p>
          <a:p>
            <a:pPr marL="457200" indent="-457200">
              <a:buAutoNum type="arabicPeriod"/>
            </a:pPr>
            <a:r>
              <a:rPr lang="en-US" sz="1800" dirty="0"/>
              <a:t>REST API Automation integration with external </a:t>
            </a:r>
            <a:r>
              <a:rPr lang="en-US" sz="1800" dirty="0" err="1"/>
              <a:t>Net.Ops</a:t>
            </a:r>
            <a:r>
              <a:rPr lang="en-US" sz="1800" dirty="0"/>
              <a:t> Orchestrator</a:t>
            </a:r>
          </a:p>
          <a:p>
            <a:pPr marL="457200" indent="-457200">
              <a:buAutoNum type="arabicPeriod"/>
            </a:pPr>
            <a:r>
              <a:rPr lang="en-US" sz="1800" dirty="0"/>
              <a:t>Automate Tasks to automatically execute test cas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5082A6-44E7-47A1-B409-3D188741B7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201" y="920555"/>
            <a:ext cx="7453790" cy="191069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CBEE98-6D21-41EA-9166-CD6EACC9A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Peak + Test Module Deployment Stages</a:t>
            </a:r>
          </a:p>
        </p:txBody>
      </p:sp>
    </p:spTree>
    <p:extLst>
      <p:ext uri="{BB962C8B-B14F-4D97-AF65-F5344CB8AC3E}">
        <p14:creationId xmlns:p14="http://schemas.microsoft.com/office/powerpoint/2010/main" val="2826416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045AF1B-B919-438A-8A6A-38A9DDB811D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DD117-8BE4-4CE8-B85E-6E3E02F23E5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1012" y="1524364"/>
            <a:ext cx="5729164" cy="4479059"/>
          </a:xfrm>
        </p:spPr>
        <p:txBody>
          <a:bodyPr/>
          <a:lstStyle/>
          <a:p>
            <a:r>
              <a:rPr lang="en-US" dirty="0"/>
              <a:t>IxLoad Client – Windows OS – for GUI Manual Config</a:t>
            </a:r>
          </a:p>
          <a:p>
            <a:r>
              <a:rPr lang="en-US" dirty="0" err="1"/>
              <a:t>Ixload</a:t>
            </a:r>
            <a:r>
              <a:rPr lang="en-US" dirty="0"/>
              <a:t> VE Virtual Machines</a:t>
            </a:r>
          </a:p>
          <a:p>
            <a:pPr lvl="2"/>
            <a:r>
              <a:rPr lang="en-US" dirty="0" err="1"/>
              <a:t>Ixload</a:t>
            </a:r>
            <a:r>
              <a:rPr lang="en-US" dirty="0"/>
              <a:t> Virtual Chassis </a:t>
            </a:r>
          </a:p>
          <a:p>
            <a:pPr lvl="1"/>
            <a:r>
              <a:rPr lang="en-US" dirty="0" err="1"/>
              <a:t>Ixload</a:t>
            </a:r>
            <a:r>
              <a:rPr lang="en-US" dirty="0"/>
              <a:t> Load Module</a:t>
            </a:r>
          </a:p>
          <a:p>
            <a:pPr lvl="1"/>
            <a:endParaRPr lang="en-US" dirty="0"/>
          </a:p>
          <a:p>
            <a:pPr lvl="1"/>
            <a:r>
              <a:rPr lang="en-US" dirty="0" err="1"/>
              <a:t>Ixload</a:t>
            </a:r>
            <a:r>
              <a:rPr lang="en-US" dirty="0"/>
              <a:t> VE Tier4 license need to emulate 4G LTE Core Nodes </a:t>
            </a:r>
          </a:p>
          <a:p>
            <a:pPr lvl="1"/>
            <a:r>
              <a:rPr lang="en-US" dirty="0"/>
              <a:t>Network interfaces – 1G /10G 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Licensing - </a:t>
            </a:r>
            <a:r>
              <a:rPr lang="en-US" dirty="0" err="1"/>
              <a:t>Ixload</a:t>
            </a:r>
            <a:r>
              <a:rPr lang="en-US" dirty="0"/>
              <a:t> Tier 4 10G Licenses</a:t>
            </a:r>
          </a:p>
          <a:p>
            <a:pPr lvl="1"/>
            <a:r>
              <a:rPr lang="en-US" dirty="0"/>
              <a:t>Optional licensing for Diameter </a:t>
            </a:r>
          </a:p>
          <a:p>
            <a:pPr lvl="1"/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4EBF67-9DF6-40FB-BE1B-D75FCAADAB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201" y="846575"/>
            <a:ext cx="7453790" cy="22919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99A5AA-829A-4325-8B73-1AC592327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xload</a:t>
            </a:r>
            <a:r>
              <a:rPr lang="en-US" dirty="0"/>
              <a:t> VE Deployment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686F112-25DD-4254-A61B-20E9DF4D13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370282"/>
            <a:ext cx="5532120" cy="31571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38D562C-4225-4039-A340-1DA4E8E186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4476" y="4583203"/>
            <a:ext cx="5532120" cy="190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0693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85184-B02C-4528-BC0F-A74784E963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201" y="1458386"/>
            <a:ext cx="8810961" cy="4479059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US" sz="1800" dirty="0"/>
              <a:t>Prepare VM Images </a:t>
            </a:r>
          </a:p>
          <a:p>
            <a:pPr marL="457200" indent="-457200">
              <a:buAutoNum type="arabicPeriod"/>
            </a:pPr>
            <a:r>
              <a:rPr lang="en-US" sz="1800" dirty="0"/>
              <a:t>Download IxLoad Images from our Support Portal </a:t>
            </a:r>
            <a:r>
              <a:rPr lang="en-US" sz="1800" dirty="0">
                <a:hlinkClick r:id="rId2"/>
              </a:rPr>
              <a:t>https://support.ixiacom.com/ixvm-ixos-910-ixnetwork-910-ixload-910</a:t>
            </a:r>
            <a:endParaRPr lang="en-US" sz="1800" dirty="0"/>
          </a:p>
          <a:p>
            <a:pPr marL="457200" indent="-457200">
              <a:buAutoNum type="arabicPeriod"/>
            </a:pPr>
            <a:r>
              <a:rPr lang="en-US" sz="1800" dirty="0"/>
              <a:t>Deploy VM on the Public/ Private Cloud infrastructure using our Install Guide</a:t>
            </a:r>
          </a:p>
          <a:p>
            <a:pPr marL="457200" indent="-457200">
              <a:buAutoNum type="arabicPeriod"/>
            </a:pPr>
            <a:r>
              <a:rPr lang="en-US" sz="1800" dirty="0"/>
              <a:t>Product Licensing </a:t>
            </a:r>
          </a:p>
          <a:p>
            <a:pPr marL="457200" indent="-457200">
              <a:buAutoNum type="arabicPeriod"/>
            </a:pPr>
            <a:r>
              <a:rPr lang="en-US" sz="1800" dirty="0"/>
              <a:t>Access Virtual Chassis via Web Ui and attach one or more Virtual Load Modules and port</a:t>
            </a:r>
          </a:p>
          <a:p>
            <a:pPr marL="457200" indent="-457200">
              <a:buAutoNum type="arabicPeriod"/>
            </a:pPr>
            <a:r>
              <a:rPr lang="en-US" sz="1800" dirty="0"/>
              <a:t>Connect from </a:t>
            </a:r>
            <a:r>
              <a:rPr lang="en-US" sz="1800" dirty="0" err="1"/>
              <a:t>Ixload</a:t>
            </a:r>
            <a:r>
              <a:rPr lang="en-US" sz="1800" dirty="0"/>
              <a:t>  Windows Client GUI to the Virtual Chassis on                     File-&gt; Ports -&gt; Add Chassis  and manual test </a:t>
            </a:r>
            <a:r>
              <a:rPr lang="en-US" sz="1800" dirty="0" err="1"/>
              <a:t>Ixload</a:t>
            </a:r>
            <a:r>
              <a:rPr lang="en-US" sz="1800" dirty="0"/>
              <a:t> functionalities</a:t>
            </a:r>
          </a:p>
          <a:p>
            <a:pPr marL="457200" indent="-457200">
              <a:buAutoNum type="arabicPeriod"/>
            </a:pPr>
            <a:r>
              <a:rPr lang="en-US" sz="1800" dirty="0"/>
              <a:t>Deploy Test Modules in </a:t>
            </a:r>
            <a:r>
              <a:rPr lang="en-US" sz="1800" dirty="0" err="1"/>
              <a:t>CloudPeak</a:t>
            </a:r>
            <a:r>
              <a:rPr lang="en-US" sz="1800" dirty="0"/>
              <a:t> /</a:t>
            </a:r>
            <a:r>
              <a:rPr lang="en-US" sz="1800" dirty="0" err="1"/>
              <a:t>IxSuiteStore</a:t>
            </a:r>
            <a:r>
              <a:rPr lang="en-US" sz="1800" dirty="0"/>
              <a:t> with predefined 4G EPC test cases ;</a:t>
            </a:r>
          </a:p>
          <a:p>
            <a:pPr marL="457200" indent="-457200">
              <a:buAutoNum type="arabicPeriod" startAt="6"/>
            </a:pPr>
            <a:r>
              <a:rPr lang="en-US" sz="1800" dirty="0"/>
              <a:t>Run Test cases from the Test Module Library </a:t>
            </a:r>
          </a:p>
          <a:p>
            <a:pPr marL="457200" indent="-457200">
              <a:buAutoNum type="arabicPeriod" startAt="6"/>
            </a:pPr>
            <a:r>
              <a:rPr lang="en-US" sz="1800" dirty="0"/>
              <a:t>REST API automation integration with external </a:t>
            </a:r>
            <a:r>
              <a:rPr lang="en-US" sz="1800" dirty="0" err="1"/>
              <a:t>Net.Ops</a:t>
            </a:r>
            <a:r>
              <a:rPr lang="en-US" sz="1800" dirty="0"/>
              <a:t> Orchestrator</a:t>
            </a:r>
          </a:p>
          <a:p>
            <a:pPr marL="457200" indent="-457200">
              <a:buAutoNum type="arabicPeriod" startAt="6"/>
            </a:pPr>
            <a:r>
              <a:rPr lang="en-US" sz="1800" dirty="0"/>
              <a:t>Automate Task from </a:t>
            </a:r>
            <a:r>
              <a:rPr lang="en-US" sz="1800" dirty="0" err="1"/>
              <a:t>Net.Ops</a:t>
            </a:r>
            <a:r>
              <a:rPr lang="en-US" sz="1800" dirty="0"/>
              <a:t> to execute Test Cas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5082A6-44E7-47A1-B409-3D188741B7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CBEE98-6D21-41EA-9166-CD6EACC9A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xload</a:t>
            </a:r>
            <a:r>
              <a:rPr lang="en-US" dirty="0"/>
              <a:t> VE Deployment Stages Overview</a:t>
            </a:r>
          </a:p>
        </p:txBody>
      </p:sp>
    </p:spTree>
    <p:extLst>
      <p:ext uri="{BB962C8B-B14F-4D97-AF65-F5344CB8AC3E}">
        <p14:creationId xmlns:p14="http://schemas.microsoft.com/office/powerpoint/2010/main" val="39366870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D7A0D1-2528-4C9C-A573-E9FB496FBED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370283"/>
            <a:ext cx="5532120" cy="4911646"/>
          </a:xfrm>
        </p:spPr>
        <p:txBody>
          <a:bodyPr/>
          <a:lstStyle/>
          <a:p>
            <a:r>
              <a:rPr lang="en-US" sz="1800" dirty="0">
                <a:solidFill>
                  <a:srgbClr val="FF0000"/>
                </a:solidFill>
              </a:rPr>
              <a:t>5G </a:t>
            </a:r>
            <a:r>
              <a:rPr lang="en-US" sz="1800" dirty="0" err="1">
                <a:solidFill>
                  <a:srgbClr val="FF0000"/>
                </a:solidFill>
              </a:rPr>
              <a:t>LoadCore</a:t>
            </a:r>
            <a:r>
              <a:rPr lang="en-US" sz="1800" dirty="0">
                <a:solidFill>
                  <a:srgbClr val="FF0000"/>
                </a:solidFill>
              </a:rPr>
              <a:t> Virtual Machines :</a:t>
            </a:r>
          </a:p>
          <a:p>
            <a:pPr lvl="1"/>
            <a:r>
              <a:rPr lang="en-US" sz="1600" dirty="0">
                <a:solidFill>
                  <a:srgbClr val="FF0000"/>
                </a:solidFill>
              </a:rPr>
              <a:t>Middleware VM 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4 x vCPU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8GB RAM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30 GB HDD</a:t>
            </a:r>
          </a:p>
          <a:p>
            <a:pPr lvl="2"/>
            <a:endParaRPr lang="en-US" sz="1400" dirty="0">
              <a:solidFill>
                <a:srgbClr val="FF0000"/>
              </a:solidFill>
            </a:endParaRPr>
          </a:p>
          <a:p>
            <a:pPr lvl="1"/>
            <a:r>
              <a:rPr lang="en-US" sz="1600" dirty="0">
                <a:solidFill>
                  <a:srgbClr val="FF0000"/>
                </a:solidFill>
              </a:rPr>
              <a:t>Agent VM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4 x vCPU;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8GB RAM;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30 GB HDD</a:t>
            </a:r>
          </a:p>
          <a:p>
            <a:pPr lvl="2"/>
            <a:endParaRPr lang="en-US" sz="1600" dirty="0">
              <a:solidFill>
                <a:srgbClr val="FF0000"/>
              </a:solidFill>
            </a:endParaRPr>
          </a:p>
          <a:p>
            <a:pPr lvl="1"/>
            <a:r>
              <a:rPr lang="en-US" sz="1600" dirty="0">
                <a:solidFill>
                  <a:srgbClr val="FF0000"/>
                </a:solidFill>
              </a:rPr>
              <a:t>License Sever VM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2vCPU;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4GB RAM</a:t>
            </a:r>
          </a:p>
          <a:p>
            <a:pPr lvl="2"/>
            <a:r>
              <a:rPr lang="en-US" sz="1400" dirty="0">
                <a:solidFill>
                  <a:srgbClr val="FF0000"/>
                </a:solidFill>
              </a:rPr>
              <a:t>10GB HDD</a:t>
            </a:r>
          </a:p>
          <a:p>
            <a:pPr marL="182880" lvl="1" indent="0">
              <a:buNone/>
            </a:pPr>
            <a:endParaRPr lang="en-US" sz="1600" dirty="0">
              <a:solidFill>
                <a:srgbClr val="FF0000"/>
              </a:solidFill>
            </a:endParaRPr>
          </a:p>
          <a:p>
            <a:pPr lvl="1"/>
            <a:r>
              <a:rPr lang="en-US" sz="1600" dirty="0">
                <a:solidFill>
                  <a:srgbClr val="FF0000"/>
                </a:solidFill>
              </a:rPr>
              <a:t>Licensing – 11 interfaces needed to emulate the whole 5G Core Nodes ;	</a:t>
            </a:r>
          </a:p>
          <a:p>
            <a:pPr lvl="1"/>
            <a:r>
              <a:rPr lang="en-US" sz="1600" dirty="0">
                <a:solidFill>
                  <a:srgbClr val="FF0000"/>
                </a:solidFill>
              </a:rPr>
              <a:t>Additional Licensing Needed for 1M UEs Control Plane</a:t>
            </a:r>
          </a:p>
          <a:p>
            <a:pPr lvl="1"/>
            <a:r>
              <a:rPr lang="en-US" sz="1600" dirty="0">
                <a:solidFill>
                  <a:srgbClr val="FF0000"/>
                </a:solidFill>
              </a:rPr>
              <a:t>Additional Licensing Need for 1M UEs User Plane traffic</a:t>
            </a:r>
          </a:p>
          <a:p>
            <a:pPr marL="182880" lvl="1" indent="0">
              <a:buNone/>
            </a:pPr>
            <a:r>
              <a:rPr lang="en-US" sz="1600" dirty="0">
                <a:solidFill>
                  <a:srgbClr val="FF0000"/>
                </a:solidFill>
              </a:rPr>
              <a:t> </a:t>
            </a:r>
          </a:p>
          <a:p>
            <a:pPr marL="182880" lvl="1" indent="0">
              <a:buNone/>
            </a:pPr>
            <a:endParaRPr lang="en-US" sz="1600" dirty="0">
              <a:solidFill>
                <a:srgbClr val="FF0000"/>
              </a:solidFill>
            </a:endParaRPr>
          </a:p>
          <a:p>
            <a:pPr marL="182880" lvl="1" indent="0">
              <a:buNone/>
            </a:pPr>
            <a:endParaRPr lang="en-US" sz="1600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6EC414-FD6C-4692-AB17-51A325F98A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D82461-5EC5-4159-A161-DD68240EA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G Load Co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1A3748-5CC9-4C89-87A9-EBBED0991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039471"/>
            <a:ext cx="5687003" cy="294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0641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57602" y="2479431"/>
            <a:ext cx="1186961" cy="88802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err="1" smtClean="0"/>
              <a:t>WindowsClient</a:t>
            </a:r>
            <a:r>
              <a:rPr lang="en-US" sz="800" dirty="0" smtClean="0"/>
              <a:t>/License Server</a:t>
            </a:r>
            <a:endParaRPr lang="en-US" sz="800" dirty="0" smtClean="0"/>
          </a:p>
        </p:txBody>
      </p:sp>
      <p:sp>
        <p:nvSpPr>
          <p:cNvPr id="8" name="Rectangle 7"/>
          <p:cNvSpPr/>
          <p:nvPr/>
        </p:nvSpPr>
        <p:spPr>
          <a:xfrm>
            <a:off x="3420610" y="3006970"/>
            <a:ext cx="1356946" cy="115179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 smtClean="0"/>
              <a:t>VChassis</a:t>
            </a:r>
            <a:endParaRPr lang="en-US" dirty="0" smtClean="0"/>
          </a:p>
        </p:txBody>
      </p:sp>
      <p:sp>
        <p:nvSpPr>
          <p:cNvPr id="11" name="Rectangle 10"/>
          <p:cNvSpPr/>
          <p:nvPr/>
        </p:nvSpPr>
        <p:spPr>
          <a:xfrm>
            <a:off x="6404132" y="2431074"/>
            <a:ext cx="1356946" cy="115179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VLOAD </a:t>
            </a:r>
            <a:r>
              <a:rPr lang="en-US" dirty="0" err="1" smtClean="0"/>
              <a:t>Gn</a:t>
            </a:r>
            <a:endParaRPr lang="en-US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10600592" y="2378320"/>
            <a:ext cx="1356946" cy="115179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VLOAD GI</a:t>
            </a:r>
            <a:endParaRPr lang="en-US" dirty="0" smtClean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5785741" y="2716822"/>
            <a:ext cx="618391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5803325" y="2910252"/>
            <a:ext cx="600807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5803325" y="3080238"/>
            <a:ext cx="618391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5820909" y="3273668"/>
            <a:ext cx="600807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8" idx="0"/>
            <a:endCxn id="11" idx="0"/>
          </p:cNvCxnSpPr>
          <p:nvPr/>
        </p:nvCxnSpPr>
        <p:spPr>
          <a:xfrm rot="5400000" flipH="1" flipV="1">
            <a:off x="5302896" y="1227261"/>
            <a:ext cx="575896" cy="2983522"/>
          </a:xfrm>
          <a:prstGeom prst="bentConnector3">
            <a:avLst>
              <a:gd name="adj1" fmla="val 139695"/>
            </a:avLst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endCxn id="13" idx="0"/>
          </p:cNvCxnSpPr>
          <p:nvPr/>
        </p:nvCxnSpPr>
        <p:spPr>
          <a:xfrm>
            <a:off x="7082605" y="2202574"/>
            <a:ext cx="4196460" cy="175746"/>
          </a:xfrm>
          <a:prstGeom prst="bentConnector2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/>
          <p:nvPr/>
        </p:nvCxnSpPr>
        <p:spPr>
          <a:xfrm rot="16200000" flipV="1">
            <a:off x="2311314" y="1176669"/>
            <a:ext cx="527539" cy="3048000"/>
          </a:xfrm>
          <a:prstGeom prst="bentConnector3">
            <a:avLst>
              <a:gd name="adj1" fmla="val 143333"/>
            </a:avLst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5354918" y="2910252"/>
            <a:ext cx="30777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Gn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 flipH="1">
            <a:off x="9982201" y="2652306"/>
            <a:ext cx="618391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>
            <a:off x="9999785" y="2845736"/>
            <a:ext cx="600807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>
            <a:off x="9999785" y="3015722"/>
            <a:ext cx="618391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>
            <a:off x="10017369" y="3209152"/>
            <a:ext cx="600807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9817187" y="2845736"/>
            <a:ext cx="2308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Gi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857652" y="1925575"/>
            <a:ext cx="70532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GMT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5880054" y="5052587"/>
            <a:ext cx="2583712" cy="178627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EPC_CORE</a:t>
            </a:r>
            <a:endParaRPr lang="en-US" dirty="0" smtClean="0"/>
          </a:p>
        </p:txBody>
      </p:sp>
      <p:sp>
        <p:nvSpPr>
          <p:cNvPr id="49" name="Left Brace 48"/>
          <p:cNvSpPr/>
          <p:nvPr/>
        </p:nvSpPr>
        <p:spPr>
          <a:xfrm>
            <a:off x="5114253" y="2431074"/>
            <a:ext cx="548441" cy="1099038"/>
          </a:xfrm>
          <a:prstGeom prst="leftBrac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Left Brace 49"/>
          <p:cNvSpPr/>
          <p:nvPr/>
        </p:nvSpPr>
        <p:spPr>
          <a:xfrm>
            <a:off x="9584188" y="2368776"/>
            <a:ext cx="463831" cy="1161336"/>
          </a:xfrm>
          <a:prstGeom prst="leftBrac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2" name="Elbow Connector 51"/>
          <p:cNvCxnSpPr>
            <a:stCxn id="49" idx="1"/>
            <a:endCxn id="47" idx="2"/>
          </p:cNvCxnSpPr>
          <p:nvPr/>
        </p:nvCxnSpPr>
        <p:spPr>
          <a:xfrm rot="10800000" flipH="1" flipV="1">
            <a:off x="5114252" y="2980592"/>
            <a:ext cx="765801" cy="2965129"/>
          </a:xfrm>
          <a:prstGeom prst="bentConnector3">
            <a:avLst>
              <a:gd name="adj1" fmla="val -29851"/>
            </a:avLst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50" idx="1"/>
            <a:endCxn id="47" idx="6"/>
          </p:cNvCxnSpPr>
          <p:nvPr/>
        </p:nvCxnSpPr>
        <p:spPr>
          <a:xfrm rot="10800000" flipV="1">
            <a:off x="8463766" y="2949444"/>
            <a:ext cx="1120422" cy="2996278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3492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orking presentation file  3-Jan" id="{4BC1EA22-1A41-447C-9580-9482657A88CC}" vid="{B0FD92DC-23E8-4537-B2CA-C2C045F75841}"/>
    </a:ext>
  </a:extLst>
</a:theme>
</file>

<file path=ppt/theme/theme2.xml><?xml version="1.0" encoding="utf-8"?>
<a:theme xmlns:a="http://schemas.openxmlformats.org/drawingml/2006/main" name="1_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94B4FDE9-FB0A-4863-843E-A1AD7F7362E1}" vid="{23A4D290-7DCB-46C0-855D-C6C6E42B4186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ing presentation file  3-Jan</Template>
  <TotalTime>42717</TotalTime>
  <Words>667</Words>
  <Application>Microsoft Office PowerPoint</Application>
  <PresentationFormat>Widescreen</PresentationFormat>
  <Paragraphs>150</Paragraphs>
  <Slides>1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Franklin Gothic Book</vt:lpstr>
      <vt:lpstr>Gotham Medium</vt:lpstr>
      <vt:lpstr>2017 Keysight Macro LIGHT</vt:lpstr>
      <vt:lpstr>1_2017 Keysight Macro LIGHT</vt:lpstr>
      <vt:lpstr>Tech M – Keysight  5G Projects </vt:lpstr>
      <vt:lpstr>Tech Mahindra POC Project Plan</vt:lpstr>
      <vt:lpstr>Automation Architecture </vt:lpstr>
      <vt:lpstr>Cloud Peak Deployment</vt:lpstr>
      <vt:lpstr>Cloud Peak + Test Module Deployment Stages</vt:lpstr>
      <vt:lpstr>Ixload VE Deployment </vt:lpstr>
      <vt:lpstr>Ixload VE Deployment Stages Overview</vt:lpstr>
      <vt:lpstr>5G Load Core</vt:lpstr>
      <vt:lpstr>PowerPoint Presentation</vt:lpstr>
      <vt:lpstr>5G LoadCore Deployment Stages Overview</vt:lpstr>
      <vt:lpstr>Timeline proposal draf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llenge Yourself Keysight ATR Workshop</dc:title>
  <dc:creator>ARMENTROUT,JIM (K-Loveland,ex1)</dc:creator>
  <cp:lastModifiedBy>Amit Thapa</cp:lastModifiedBy>
  <cp:revision>432</cp:revision>
  <dcterms:created xsi:type="dcterms:W3CDTF">2018-01-11T15:39:01Z</dcterms:created>
  <dcterms:modified xsi:type="dcterms:W3CDTF">2020-09-26T18:0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ATT\AT00546364</vt:lpwstr>
  </property>
  <property fmtid="{D5CDD505-2E9C-101B-9397-08002B2CF9AE}" pid="4" name="DLPManualFileClassificationLastModificationDate">
    <vt:lpwstr>1601143263</vt:lpwstr>
  </property>
  <property fmtid="{D5CDD505-2E9C-101B-9397-08002B2CF9AE}" pid="5" name="DLPManualFileClassificationVersion">
    <vt:lpwstr>11.3.2.8</vt:lpwstr>
  </property>
</Properties>
</file>